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0.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4"/>
    <p:sldMasterId id="2147483919" r:id="rId5"/>
  </p:sldMasterIdLst>
  <p:notesMasterIdLst>
    <p:notesMasterId r:id="rId41"/>
  </p:notesMasterIdLst>
  <p:sldIdLst>
    <p:sldId id="256" r:id="rId6"/>
    <p:sldId id="257" r:id="rId7"/>
    <p:sldId id="258" r:id="rId8"/>
    <p:sldId id="260" r:id="rId9"/>
    <p:sldId id="267" r:id="rId10"/>
    <p:sldId id="268" r:id="rId11"/>
    <p:sldId id="262" r:id="rId12"/>
    <p:sldId id="269" r:id="rId13"/>
    <p:sldId id="272" r:id="rId14"/>
    <p:sldId id="273" r:id="rId15"/>
    <p:sldId id="282" r:id="rId16"/>
    <p:sldId id="280" r:id="rId17"/>
    <p:sldId id="285" r:id="rId18"/>
    <p:sldId id="283" r:id="rId19"/>
    <p:sldId id="274" r:id="rId20"/>
    <p:sldId id="275" r:id="rId21"/>
    <p:sldId id="288" r:id="rId22"/>
    <p:sldId id="281" r:id="rId23"/>
    <p:sldId id="278" r:id="rId24"/>
    <p:sldId id="287" r:id="rId25"/>
    <p:sldId id="286" r:id="rId26"/>
    <p:sldId id="276" r:id="rId27"/>
    <p:sldId id="261" r:id="rId28"/>
    <p:sldId id="270" r:id="rId29"/>
    <p:sldId id="271" r:id="rId30"/>
    <p:sldId id="289" r:id="rId31"/>
    <p:sldId id="292" r:id="rId32"/>
    <p:sldId id="293" r:id="rId33"/>
    <p:sldId id="294" r:id="rId34"/>
    <p:sldId id="263" r:id="rId35"/>
    <p:sldId id="290" r:id="rId36"/>
    <p:sldId id="266" r:id="rId37"/>
    <p:sldId id="264" r:id="rId38"/>
    <p:sldId id="265" r:id="rId39"/>
    <p:sldId id="259"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93E69F4F-A301-43AF-94EF-AFFC0D4F45C4}">
          <p14:sldIdLst>
            <p14:sldId id="256"/>
            <p14:sldId id="257"/>
            <p14:sldId id="258"/>
          </p14:sldIdLst>
        </p14:section>
        <p14:section name="Overview" id="{B498780C-846F-4F12-8185-FB2BEA0221F9}">
          <p14:sldIdLst>
            <p14:sldId id="260"/>
            <p14:sldId id="267"/>
            <p14:sldId id="268"/>
          </p14:sldIdLst>
        </p14:section>
        <p14:section name="Categories" id="{EDC10F92-AE25-4892-9B7C-D0A9B92AEB52}">
          <p14:sldIdLst>
            <p14:sldId id="262"/>
            <p14:sldId id="269"/>
            <p14:sldId id="272"/>
            <p14:sldId id="273"/>
            <p14:sldId id="282"/>
            <p14:sldId id="280"/>
            <p14:sldId id="285"/>
            <p14:sldId id="283"/>
            <p14:sldId id="274"/>
            <p14:sldId id="275"/>
            <p14:sldId id="288"/>
            <p14:sldId id="281"/>
            <p14:sldId id="278"/>
            <p14:sldId id="287"/>
            <p14:sldId id="286"/>
            <p14:sldId id="276"/>
          </p14:sldIdLst>
        </p14:section>
        <p14:section name="Rec Refreshers" id="{472679B5-B15B-47B1-B680-08EF9260907F}">
          <p14:sldIdLst>
            <p14:sldId id="261"/>
            <p14:sldId id="270"/>
            <p14:sldId id="271"/>
            <p14:sldId id="289"/>
          </p14:sldIdLst>
        </p14:section>
        <p14:section name="Knowledge Check" id="{318CCA0D-42CF-4DB6-A7B2-E021F6001DA6}">
          <p14:sldIdLst>
            <p14:sldId id="292"/>
            <p14:sldId id="293"/>
            <p14:sldId id="294"/>
          </p14:sldIdLst>
        </p14:section>
        <p14:section name="Q&amp;A" id="{D8F0E3F3-1110-4A4E-9156-516AAC0BF382}">
          <p14:sldIdLst>
            <p14:sldId id="263"/>
            <p14:sldId id="290"/>
          </p14:sldIdLst>
        </p14:section>
        <p14:section name="Closing" id="{91718A80-4153-41EF-8994-B08D9A15EFEF}">
          <p14:sldIdLst>
            <p14:sldId id="266"/>
            <p14:sldId id="264"/>
            <p14:sldId id="265"/>
            <p14:sldId id="25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19C75"/>
    <a:srgbClr val="3813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961373-B04D-4C68-A3B5-CBCA0C50E711}" v="19" dt="2024-12-19T21:59:53.7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58" autoAdjust="0"/>
    <p:restoredTop sz="74718" autoAdjust="0"/>
  </p:normalViewPr>
  <p:slideViewPr>
    <p:cSldViewPr snapToGrid="0">
      <p:cViewPr varScale="1">
        <p:scale>
          <a:sx n="76" d="100"/>
          <a:sy n="76" d="100"/>
        </p:scale>
        <p:origin x="288"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ie Novacek" userId="65aff286-fe54-490e-ad4f-51eed0611e27" providerId="ADAL" clId="{6F961373-B04D-4C68-A3B5-CBCA0C50E711}"/>
    <pc:docChg chg="undo redo custSel addSld delSld modSld addSection modSection">
      <pc:chgData name="Annie Novacek" userId="65aff286-fe54-490e-ad4f-51eed0611e27" providerId="ADAL" clId="{6F961373-B04D-4C68-A3B5-CBCA0C50E711}" dt="2024-12-19T22:08:20.607" v="3384" actId="20577"/>
      <pc:docMkLst>
        <pc:docMk/>
      </pc:docMkLst>
      <pc:sldChg chg="modSp mod modNotesTx">
        <pc:chgData name="Annie Novacek" userId="65aff286-fe54-490e-ad4f-51eed0611e27" providerId="ADAL" clId="{6F961373-B04D-4C68-A3B5-CBCA0C50E711}" dt="2024-12-19T17:47:27.047" v="564" actId="20577"/>
        <pc:sldMkLst>
          <pc:docMk/>
          <pc:sldMk cId="2346909353" sldId="276"/>
        </pc:sldMkLst>
        <pc:spChg chg="mod">
          <ac:chgData name="Annie Novacek" userId="65aff286-fe54-490e-ad4f-51eed0611e27" providerId="ADAL" clId="{6F961373-B04D-4C68-A3B5-CBCA0C50E711}" dt="2024-12-19T17:47:05.604" v="461" actId="404"/>
          <ac:spMkLst>
            <pc:docMk/>
            <pc:sldMk cId="2346909353" sldId="276"/>
            <ac:spMk id="3" creationId="{95CF0A59-12BB-989D-E2FC-ECC13A20404B}"/>
          </ac:spMkLst>
        </pc:spChg>
      </pc:sldChg>
      <pc:sldChg chg="modSp mod modNotesTx">
        <pc:chgData name="Annie Novacek" userId="65aff286-fe54-490e-ad4f-51eed0611e27" providerId="ADAL" clId="{6F961373-B04D-4C68-A3B5-CBCA0C50E711}" dt="2024-12-19T17:45:33.411" v="350" actId="20577"/>
        <pc:sldMkLst>
          <pc:docMk/>
          <pc:sldMk cId="887088795" sldId="281"/>
        </pc:sldMkLst>
        <pc:spChg chg="mod">
          <ac:chgData name="Annie Novacek" userId="65aff286-fe54-490e-ad4f-51eed0611e27" providerId="ADAL" clId="{6F961373-B04D-4C68-A3B5-CBCA0C50E711}" dt="2024-12-19T17:45:01.002" v="167" actId="20577"/>
          <ac:spMkLst>
            <pc:docMk/>
            <pc:sldMk cId="887088795" sldId="281"/>
            <ac:spMk id="3" creationId="{65DD48B8-AB35-5CD2-3BE3-3247839FFB95}"/>
          </ac:spMkLst>
        </pc:spChg>
      </pc:sldChg>
      <pc:sldChg chg="addSp delSp modSp new del mod modClrScheme modShow chgLayout">
        <pc:chgData name="Annie Novacek" userId="65aff286-fe54-490e-ad4f-51eed0611e27" providerId="ADAL" clId="{6F961373-B04D-4C68-A3B5-CBCA0C50E711}" dt="2024-12-19T21:56:32.237" v="1286" actId="47"/>
        <pc:sldMkLst>
          <pc:docMk/>
          <pc:sldMk cId="3861178136" sldId="291"/>
        </pc:sldMkLst>
        <pc:spChg chg="mod ord">
          <ac:chgData name="Annie Novacek" userId="65aff286-fe54-490e-ad4f-51eed0611e27" providerId="ADAL" clId="{6F961373-B04D-4C68-A3B5-CBCA0C50E711}" dt="2024-12-19T21:44:29.258" v="948" actId="14100"/>
          <ac:spMkLst>
            <pc:docMk/>
            <pc:sldMk cId="3861178136" sldId="291"/>
            <ac:spMk id="2" creationId="{3876A8BB-42AA-A39C-4E45-886D1B3A78D1}"/>
          </ac:spMkLst>
        </pc:spChg>
        <pc:spChg chg="mod ord">
          <ac:chgData name="Annie Novacek" userId="65aff286-fe54-490e-ad4f-51eed0611e27" providerId="ADAL" clId="{6F961373-B04D-4C68-A3B5-CBCA0C50E711}" dt="2024-12-19T21:48:12.871" v="980" actId="113"/>
          <ac:spMkLst>
            <pc:docMk/>
            <pc:sldMk cId="3861178136" sldId="291"/>
            <ac:spMk id="3" creationId="{F1FA07A3-D038-F949-6C7D-2516A9B7A744}"/>
          </ac:spMkLst>
        </pc:spChg>
        <pc:spChg chg="del mod ord">
          <ac:chgData name="Annie Novacek" userId="65aff286-fe54-490e-ad4f-51eed0611e27" providerId="ADAL" clId="{6F961373-B04D-4C68-A3B5-CBCA0C50E711}" dt="2024-12-19T21:43:38.971" v="944" actId="700"/>
          <ac:spMkLst>
            <pc:docMk/>
            <pc:sldMk cId="3861178136" sldId="291"/>
            <ac:spMk id="4" creationId="{1612A8D0-65E6-1B71-372C-03F8B05D5CB9}"/>
          </ac:spMkLst>
        </pc:spChg>
        <pc:spChg chg="add mod ord">
          <ac:chgData name="Annie Novacek" userId="65aff286-fe54-490e-ad4f-51eed0611e27" providerId="ADAL" clId="{6F961373-B04D-4C68-A3B5-CBCA0C50E711}" dt="2024-12-19T21:55:03.505" v="1234" actId="20577"/>
          <ac:spMkLst>
            <pc:docMk/>
            <pc:sldMk cId="3861178136" sldId="291"/>
            <ac:spMk id="5" creationId="{9B051A74-951C-127A-E5D0-617AAB671472}"/>
          </ac:spMkLst>
        </pc:spChg>
        <pc:spChg chg="add del mod ord">
          <ac:chgData name="Annie Novacek" userId="65aff286-fe54-490e-ad4f-51eed0611e27" providerId="ADAL" clId="{6F961373-B04D-4C68-A3B5-CBCA0C50E711}" dt="2024-12-19T21:55:11.982" v="1235" actId="478"/>
          <ac:spMkLst>
            <pc:docMk/>
            <pc:sldMk cId="3861178136" sldId="291"/>
            <ac:spMk id="6" creationId="{ECFD5653-26A1-899B-3AED-E6FEC7C919EB}"/>
          </ac:spMkLst>
        </pc:spChg>
      </pc:sldChg>
      <pc:sldChg chg="new del">
        <pc:chgData name="Annie Novacek" userId="65aff286-fe54-490e-ad4f-51eed0611e27" providerId="ADAL" clId="{6F961373-B04D-4C68-A3B5-CBCA0C50E711}" dt="2024-12-19T17:49:25.400" v="569" actId="680"/>
        <pc:sldMkLst>
          <pc:docMk/>
          <pc:sldMk cId="1421256846" sldId="292"/>
        </pc:sldMkLst>
      </pc:sldChg>
      <pc:sldChg chg="modSp add mod modNotesTx">
        <pc:chgData name="Annie Novacek" userId="65aff286-fe54-490e-ad4f-51eed0611e27" providerId="ADAL" clId="{6F961373-B04D-4C68-A3B5-CBCA0C50E711}" dt="2024-12-19T17:50:27.440" v="876" actId="20577"/>
        <pc:sldMkLst>
          <pc:docMk/>
          <pc:sldMk cId="3773820401" sldId="292"/>
        </pc:sldMkLst>
        <pc:spChg chg="mod">
          <ac:chgData name="Annie Novacek" userId="65aff286-fe54-490e-ad4f-51eed0611e27" providerId="ADAL" clId="{6F961373-B04D-4C68-A3B5-CBCA0C50E711}" dt="2024-12-19T17:49:36.540" v="585" actId="20577"/>
          <ac:spMkLst>
            <pc:docMk/>
            <pc:sldMk cId="3773820401" sldId="292"/>
            <ac:spMk id="2" creationId="{85E0DBA5-20DF-AF6E-91F7-C906DD60E29C}"/>
          </ac:spMkLst>
        </pc:spChg>
      </pc:sldChg>
      <pc:sldChg chg="modSp add mod modShow modNotesTx">
        <pc:chgData name="Annie Novacek" userId="65aff286-fe54-490e-ad4f-51eed0611e27" providerId="ADAL" clId="{6F961373-B04D-4C68-A3B5-CBCA0C50E711}" dt="2024-12-19T22:00:31.278" v="1487" actId="20577"/>
        <pc:sldMkLst>
          <pc:docMk/>
          <pc:sldMk cId="521868825" sldId="293"/>
        </pc:sldMkLst>
        <pc:spChg chg="mod">
          <ac:chgData name="Annie Novacek" userId="65aff286-fe54-490e-ad4f-51eed0611e27" providerId="ADAL" clId="{6F961373-B04D-4C68-A3B5-CBCA0C50E711}" dt="2024-12-19T21:56:21.659" v="1285" actId="20577"/>
          <ac:spMkLst>
            <pc:docMk/>
            <pc:sldMk cId="521868825" sldId="293"/>
            <ac:spMk id="3" creationId="{31178A46-87EE-BDEB-1497-F0305EB10874}"/>
          </ac:spMkLst>
        </pc:spChg>
      </pc:sldChg>
      <pc:sldChg chg="add del">
        <pc:chgData name="Annie Novacek" userId="65aff286-fe54-490e-ad4f-51eed0611e27" providerId="ADAL" clId="{6F961373-B04D-4C68-A3B5-CBCA0C50E711}" dt="2024-12-19T21:55:30.400" v="1236" actId="2696"/>
        <pc:sldMkLst>
          <pc:docMk/>
          <pc:sldMk cId="2201974283" sldId="293"/>
        </pc:sldMkLst>
      </pc:sldChg>
      <pc:sldChg chg="addSp modSp add mod modAnim modNotesTx">
        <pc:chgData name="Annie Novacek" userId="65aff286-fe54-490e-ad4f-51eed0611e27" providerId="ADAL" clId="{6F961373-B04D-4C68-A3B5-CBCA0C50E711}" dt="2024-12-19T22:08:20.607" v="3384" actId="20577"/>
        <pc:sldMkLst>
          <pc:docMk/>
          <pc:sldMk cId="961968224" sldId="294"/>
        </pc:sldMkLst>
        <pc:spChg chg="mod">
          <ac:chgData name="Annie Novacek" userId="65aff286-fe54-490e-ad4f-51eed0611e27" providerId="ADAL" clId="{6F961373-B04D-4C68-A3B5-CBCA0C50E711}" dt="2024-12-19T21:59:53.760" v="1369" actId="20577"/>
          <ac:spMkLst>
            <pc:docMk/>
            <pc:sldMk cId="961968224" sldId="294"/>
            <ac:spMk id="2" creationId="{D7FE2D01-2843-A4D2-6599-2ECBF270224E}"/>
          </ac:spMkLst>
        </pc:spChg>
        <pc:spChg chg="add mod">
          <ac:chgData name="Annie Novacek" userId="65aff286-fe54-490e-ad4f-51eed0611e27" providerId="ADAL" clId="{6F961373-B04D-4C68-A3B5-CBCA0C50E711}" dt="2024-12-19T21:57:10.828" v="1303" actId="1037"/>
          <ac:spMkLst>
            <pc:docMk/>
            <pc:sldMk cId="961968224" sldId="294"/>
            <ac:spMk id="4" creationId="{726C75AE-9DFF-BBD9-528A-2E485E9A98AE}"/>
          </ac:spMkLst>
        </pc:spChg>
        <pc:spChg chg="add mod">
          <ac:chgData name="Annie Novacek" userId="65aff286-fe54-490e-ad4f-51eed0611e27" providerId="ADAL" clId="{6F961373-B04D-4C68-A3B5-CBCA0C50E711}" dt="2024-12-19T21:58:15.551" v="1335" actId="1076"/>
          <ac:spMkLst>
            <pc:docMk/>
            <pc:sldMk cId="961968224" sldId="294"/>
            <ac:spMk id="6" creationId="{7CDA3364-1FBF-DB18-471E-0AB326EE9E28}"/>
          </ac:spMkLst>
        </pc:spChg>
        <pc:spChg chg="add mod">
          <ac:chgData name="Annie Novacek" userId="65aff286-fe54-490e-ad4f-51eed0611e27" providerId="ADAL" clId="{6F961373-B04D-4C68-A3B5-CBCA0C50E711}" dt="2024-12-19T21:58:07.982" v="1334" actId="1035"/>
          <ac:spMkLst>
            <pc:docMk/>
            <pc:sldMk cId="961968224" sldId="294"/>
            <ac:spMk id="7" creationId="{D78FEEFC-BCDD-53BD-C0B9-F4FBB50B2A12}"/>
          </ac:spMkLst>
        </pc:spChg>
        <pc:spChg chg="add mod">
          <ac:chgData name="Annie Novacek" userId="65aff286-fe54-490e-ad4f-51eed0611e27" providerId="ADAL" clId="{6F961373-B04D-4C68-A3B5-CBCA0C50E711}" dt="2024-12-19T21:57:59.193" v="1325" actId="1036"/>
          <ac:spMkLst>
            <pc:docMk/>
            <pc:sldMk cId="961968224" sldId="294"/>
            <ac:spMk id="8" creationId="{AD595E15-305A-166D-BB13-61052411C178}"/>
          </ac:spMkLst>
        </pc:spChg>
        <pc:spChg chg="add mod">
          <ac:chgData name="Annie Novacek" userId="65aff286-fe54-490e-ad4f-51eed0611e27" providerId="ADAL" clId="{6F961373-B04D-4C68-A3B5-CBCA0C50E711}" dt="2024-12-19T21:59:15.769" v="1356" actId="1037"/>
          <ac:spMkLst>
            <pc:docMk/>
            <pc:sldMk cId="961968224" sldId="294"/>
            <ac:spMk id="9" creationId="{187EEB50-6BE9-32D6-A27B-5D8F3F4F2456}"/>
          </ac:spMkLst>
        </pc:spChg>
        <pc:spChg chg="add mod">
          <ac:chgData name="Annie Novacek" userId="65aff286-fe54-490e-ad4f-51eed0611e27" providerId="ADAL" clId="{6F961373-B04D-4C68-A3B5-CBCA0C50E711}" dt="2024-12-19T21:58:39.487" v="1342" actId="14100"/>
          <ac:spMkLst>
            <pc:docMk/>
            <pc:sldMk cId="961968224" sldId="294"/>
            <ac:spMk id="10" creationId="{3D9DB3D6-EF08-FA95-A737-9E7D4FDBE194}"/>
          </ac:spMkLst>
        </pc:spChg>
      </pc:sldChg>
    </pc:docChg>
  </pc:docChgLst>
  <pc:docChgLst>
    <pc:chgData name="Annie Novacek" userId="65aff286-fe54-490e-ad4f-51eed0611e27" providerId="ADAL" clId="{D6F5A823-BBCF-41DA-B94D-8A2AA2A1656E}"/>
    <pc:docChg chg="undo redo custSel addSld delSld modSld sldOrd addMainMaster modMainMaster addSection modSection">
      <pc:chgData name="Annie Novacek" userId="65aff286-fe54-490e-ad4f-51eed0611e27" providerId="ADAL" clId="{D6F5A823-BBCF-41DA-B94D-8A2AA2A1656E}" dt="2024-12-04T14:19:07.355" v="29606" actId="20577"/>
      <pc:docMkLst>
        <pc:docMk/>
      </pc:docMkLst>
      <pc:sldChg chg="addSp delSp modSp mod modClrScheme chgLayout modNotesTx">
        <pc:chgData name="Annie Novacek" userId="65aff286-fe54-490e-ad4f-51eed0611e27" providerId="ADAL" clId="{D6F5A823-BBCF-41DA-B94D-8A2AA2A1656E}" dt="2024-11-25T19:46:59.356" v="11414" actId="20577"/>
        <pc:sldMkLst>
          <pc:docMk/>
          <pc:sldMk cId="109857222" sldId="256"/>
        </pc:sldMkLst>
        <pc:spChg chg="add mod ord">
          <ac:chgData name="Annie Novacek" userId="65aff286-fe54-490e-ad4f-51eed0611e27" providerId="ADAL" clId="{D6F5A823-BBCF-41DA-B94D-8A2AA2A1656E}" dt="2024-11-18T14:51:14.084" v="158" actId="1076"/>
          <ac:spMkLst>
            <pc:docMk/>
            <pc:sldMk cId="109857222" sldId="256"/>
            <ac:spMk id="4" creationId="{41369C8D-D8E6-71C7-0E14-B36B98207008}"/>
          </ac:spMkLst>
        </pc:spChg>
      </pc:sldChg>
      <pc:sldChg chg="modSp add mod">
        <pc:chgData name="Annie Novacek" userId="65aff286-fe54-490e-ad4f-51eed0611e27" providerId="ADAL" clId="{D6F5A823-BBCF-41DA-B94D-8A2AA2A1656E}" dt="2024-11-20T22:41:28.886" v="2402" actId="207"/>
        <pc:sldMkLst>
          <pc:docMk/>
          <pc:sldMk cId="325363944" sldId="257"/>
        </pc:sldMkLst>
        <pc:spChg chg="mod">
          <ac:chgData name="Annie Novacek" userId="65aff286-fe54-490e-ad4f-51eed0611e27" providerId="ADAL" clId="{D6F5A823-BBCF-41DA-B94D-8A2AA2A1656E}" dt="2024-11-20T22:41:28.886" v="2402" actId="207"/>
          <ac:spMkLst>
            <pc:docMk/>
            <pc:sldMk cId="325363944" sldId="257"/>
            <ac:spMk id="3" creationId="{3939B47A-47CA-7BBC-7F44-DF7A9EB24B05}"/>
          </ac:spMkLst>
        </pc:spChg>
      </pc:sldChg>
      <pc:sldChg chg="new del">
        <pc:chgData name="Annie Novacek" userId="65aff286-fe54-490e-ad4f-51eed0611e27" providerId="ADAL" clId="{D6F5A823-BBCF-41DA-B94D-8A2AA2A1656E}" dt="2024-11-18T14:38:36.921" v="32" actId="680"/>
        <pc:sldMkLst>
          <pc:docMk/>
          <pc:sldMk cId="3934370462" sldId="257"/>
        </pc:sldMkLst>
      </pc:sldChg>
      <pc:sldChg chg="addSp delSp modSp new mod modNotesTx">
        <pc:chgData name="Annie Novacek" userId="65aff286-fe54-490e-ad4f-51eed0611e27" providerId="ADAL" clId="{D6F5A823-BBCF-41DA-B94D-8A2AA2A1656E}" dt="2024-11-25T19:51:07.533" v="11976" actId="20577"/>
        <pc:sldMkLst>
          <pc:docMk/>
          <pc:sldMk cId="2601561842" sldId="258"/>
        </pc:sldMkLst>
        <pc:spChg chg="mod">
          <ac:chgData name="Annie Novacek" userId="65aff286-fe54-490e-ad4f-51eed0611e27" providerId="ADAL" clId="{D6F5A823-BBCF-41DA-B94D-8A2AA2A1656E}" dt="2024-11-18T14:39:50.291" v="45" actId="207"/>
          <ac:spMkLst>
            <pc:docMk/>
            <pc:sldMk cId="2601561842" sldId="258"/>
            <ac:spMk id="2" creationId="{72F61189-AE32-3CB5-4901-4A0F56879BD3}"/>
          </ac:spMkLst>
        </pc:spChg>
        <pc:spChg chg="mod">
          <ac:chgData name="Annie Novacek" userId="65aff286-fe54-490e-ad4f-51eed0611e27" providerId="ADAL" clId="{D6F5A823-BBCF-41DA-B94D-8A2AA2A1656E}" dt="2024-11-18T14:39:31.500" v="38"/>
          <ac:spMkLst>
            <pc:docMk/>
            <pc:sldMk cId="2601561842" sldId="258"/>
            <ac:spMk id="4" creationId="{75551FBD-031B-38A7-FB4B-D848707BE77C}"/>
          </ac:spMkLst>
        </pc:spChg>
        <pc:graphicFrameChg chg="add mod modGraphic">
          <ac:chgData name="Annie Novacek" userId="65aff286-fe54-490e-ad4f-51eed0611e27" providerId="ADAL" clId="{D6F5A823-BBCF-41DA-B94D-8A2AA2A1656E}" dt="2024-11-20T22:48:46.818" v="2597" actId="20577"/>
          <ac:graphicFrameMkLst>
            <pc:docMk/>
            <pc:sldMk cId="2601561842" sldId="258"/>
            <ac:graphicFrameMk id="5" creationId="{64CB40D9-D2FE-2212-D847-5731299BEB9C}"/>
          </ac:graphicFrameMkLst>
        </pc:graphicFrameChg>
      </pc:sldChg>
      <pc:sldChg chg="delSp modSp new mod">
        <pc:chgData name="Annie Novacek" userId="65aff286-fe54-490e-ad4f-51eed0611e27" providerId="ADAL" clId="{D6F5A823-BBCF-41DA-B94D-8A2AA2A1656E}" dt="2024-11-18T14:52:42.827" v="209" actId="1076"/>
        <pc:sldMkLst>
          <pc:docMk/>
          <pc:sldMk cId="3286680934" sldId="259"/>
        </pc:sldMkLst>
        <pc:spChg chg="mod">
          <ac:chgData name="Annie Novacek" userId="65aff286-fe54-490e-ad4f-51eed0611e27" providerId="ADAL" clId="{D6F5A823-BBCF-41DA-B94D-8A2AA2A1656E}" dt="2024-11-18T14:52:42.827" v="209" actId="1076"/>
          <ac:spMkLst>
            <pc:docMk/>
            <pc:sldMk cId="3286680934" sldId="259"/>
            <ac:spMk id="2" creationId="{9A87AAD8-80A8-ED5E-D3F8-E27BFDB82855}"/>
          </ac:spMkLst>
        </pc:spChg>
      </pc:sldChg>
      <pc:sldChg chg="delSp modSp new mod modNotesTx">
        <pc:chgData name="Annie Novacek" userId="65aff286-fe54-490e-ad4f-51eed0611e27" providerId="ADAL" clId="{D6F5A823-BBCF-41DA-B94D-8A2AA2A1656E}" dt="2024-11-25T19:51:33.392" v="12098" actId="20577"/>
        <pc:sldMkLst>
          <pc:docMk/>
          <pc:sldMk cId="2007058755" sldId="260"/>
        </pc:sldMkLst>
        <pc:spChg chg="mod">
          <ac:chgData name="Annie Novacek" userId="65aff286-fe54-490e-ad4f-51eed0611e27" providerId="ADAL" clId="{D6F5A823-BBCF-41DA-B94D-8A2AA2A1656E}" dt="2024-11-18T14:53:47.727" v="251" actId="1076"/>
          <ac:spMkLst>
            <pc:docMk/>
            <pc:sldMk cId="2007058755" sldId="260"/>
            <ac:spMk id="2" creationId="{5E2EA2E7-36CD-68E3-5234-51E9D94E490C}"/>
          </ac:spMkLst>
        </pc:spChg>
      </pc:sldChg>
      <pc:sldChg chg="modSp add mod ord modNotesTx">
        <pc:chgData name="Annie Novacek" userId="65aff286-fe54-490e-ad4f-51eed0611e27" providerId="ADAL" clId="{D6F5A823-BBCF-41DA-B94D-8A2AA2A1656E}" dt="2024-11-26T16:06:52.347" v="26430" actId="20577"/>
        <pc:sldMkLst>
          <pc:docMk/>
          <pc:sldMk cId="3041479229" sldId="261"/>
        </pc:sldMkLst>
        <pc:spChg chg="mod">
          <ac:chgData name="Annie Novacek" userId="65aff286-fe54-490e-ad4f-51eed0611e27" providerId="ADAL" clId="{D6F5A823-BBCF-41DA-B94D-8A2AA2A1656E}" dt="2024-11-20T22:48:38.316" v="2589" actId="20577"/>
          <ac:spMkLst>
            <pc:docMk/>
            <pc:sldMk cId="3041479229" sldId="261"/>
            <ac:spMk id="2" creationId="{032F44F9-0134-5344-9D8F-C29C2B6369B2}"/>
          </ac:spMkLst>
        </pc:spChg>
      </pc:sldChg>
      <pc:sldChg chg="modSp add mod ord modNotesTx">
        <pc:chgData name="Annie Novacek" userId="65aff286-fe54-490e-ad4f-51eed0611e27" providerId="ADAL" clId="{D6F5A823-BBCF-41DA-B94D-8A2AA2A1656E}" dt="2024-11-25T20:07:05.664" v="14787" actId="20577"/>
        <pc:sldMkLst>
          <pc:docMk/>
          <pc:sldMk cId="2983194039" sldId="262"/>
        </pc:sldMkLst>
        <pc:spChg chg="mod">
          <ac:chgData name="Annie Novacek" userId="65aff286-fe54-490e-ad4f-51eed0611e27" providerId="ADAL" clId="{D6F5A823-BBCF-41DA-B94D-8A2AA2A1656E}" dt="2024-11-18T14:54:14.844" v="281" actId="20577"/>
          <ac:spMkLst>
            <pc:docMk/>
            <pc:sldMk cId="2983194039" sldId="262"/>
            <ac:spMk id="2" creationId="{AC1F2574-7036-79D9-3F7F-F7DC105E9AFD}"/>
          </ac:spMkLst>
        </pc:spChg>
      </pc:sldChg>
      <pc:sldChg chg="modSp add mod ord modNotesTx">
        <pc:chgData name="Annie Novacek" userId="65aff286-fe54-490e-ad4f-51eed0611e27" providerId="ADAL" clId="{D6F5A823-BBCF-41DA-B94D-8A2AA2A1656E}" dt="2024-11-26T16:14:58.325" v="28803" actId="20577"/>
        <pc:sldMkLst>
          <pc:docMk/>
          <pc:sldMk cId="2179395648" sldId="263"/>
        </pc:sldMkLst>
        <pc:spChg chg="mod">
          <ac:chgData name="Annie Novacek" userId="65aff286-fe54-490e-ad4f-51eed0611e27" providerId="ADAL" clId="{D6F5A823-BBCF-41DA-B94D-8A2AA2A1656E}" dt="2024-11-18T14:54:32.929" v="306" actId="20577"/>
          <ac:spMkLst>
            <pc:docMk/>
            <pc:sldMk cId="2179395648" sldId="263"/>
            <ac:spMk id="2" creationId="{85F6A1CB-A0AB-D12E-D1E5-6E0F85430EF9}"/>
          </ac:spMkLst>
        </pc:spChg>
      </pc:sldChg>
      <pc:sldChg chg="modSp add mod modNotesTx">
        <pc:chgData name="Annie Novacek" userId="65aff286-fe54-490e-ad4f-51eed0611e27" providerId="ADAL" clId="{D6F5A823-BBCF-41DA-B94D-8A2AA2A1656E}" dt="2024-11-26T16:16:27.727" v="29125"/>
        <pc:sldMkLst>
          <pc:docMk/>
          <pc:sldMk cId="2349996946" sldId="264"/>
        </pc:sldMkLst>
        <pc:spChg chg="mod">
          <ac:chgData name="Annie Novacek" userId="65aff286-fe54-490e-ad4f-51eed0611e27" providerId="ADAL" clId="{D6F5A823-BBCF-41DA-B94D-8A2AA2A1656E}" dt="2024-11-18T14:56:30.910" v="329" actId="20577"/>
          <ac:spMkLst>
            <pc:docMk/>
            <pc:sldMk cId="2349996946" sldId="264"/>
            <ac:spMk id="3" creationId="{3939B47A-47CA-7BBC-7F44-DF7A9EB24B05}"/>
          </ac:spMkLst>
        </pc:spChg>
      </pc:sldChg>
      <pc:sldChg chg="add modNotesTx">
        <pc:chgData name="Annie Novacek" userId="65aff286-fe54-490e-ad4f-51eed0611e27" providerId="ADAL" clId="{D6F5A823-BBCF-41DA-B94D-8A2AA2A1656E}" dt="2024-11-26T16:16:58.437" v="29319" actId="20577"/>
        <pc:sldMkLst>
          <pc:docMk/>
          <pc:sldMk cId="4155087361" sldId="265"/>
        </pc:sldMkLst>
      </pc:sldChg>
      <pc:sldChg chg="modSp add mod ord modNotesTx">
        <pc:chgData name="Annie Novacek" userId="65aff286-fe54-490e-ad4f-51eed0611e27" providerId="ADAL" clId="{D6F5A823-BBCF-41DA-B94D-8A2AA2A1656E}" dt="2024-11-26T16:15:27.923" v="28955" actId="20577"/>
        <pc:sldMkLst>
          <pc:docMk/>
          <pc:sldMk cId="883478461" sldId="266"/>
        </pc:sldMkLst>
        <pc:spChg chg="mod">
          <ac:chgData name="Annie Novacek" userId="65aff286-fe54-490e-ad4f-51eed0611e27" providerId="ADAL" clId="{D6F5A823-BBCF-41DA-B94D-8A2AA2A1656E}" dt="2024-11-18T14:56:20.696" v="319" actId="20577"/>
          <ac:spMkLst>
            <pc:docMk/>
            <pc:sldMk cId="883478461" sldId="266"/>
            <ac:spMk id="2" creationId="{BB8D25DD-4AB3-7744-B64B-66341F7DDB77}"/>
          </ac:spMkLst>
        </pc:spChg>
      </pc:sldChg>
      <pc:sldChg chg="addSp delSp modSp new mod modAnim modNotesTx">
        <pc:chgData name="Annie Novacek" userId="65aff286-fe54-490e-ad4f-51eed0611e27" providerId="ADAL" clId="{D6F5A823-BBCF-41DA-B94D-8A2AA2A1656E}" dt="2024-11-25T20:02:14.529" v="13846" actId="20577"/>
        <pc:sldMkLst>
          <pc:docMk/>
          <pc:sldMk cId="3657127156" sldId="267"/>
        </pc:sldMkLst>
        <pc:spChg chg="mod">
          <ac:chgData name="Annie Novacek" userId="65aff286-fe54-490e-ad4f-51eed0611e27" providerId="ADAL" clId="{D6F5A823-BBCF-41DA-B94D-8A2AA2A1656E}" dt="2024-11-18T14:57:42.820" v="344" actId="207"/>
          <ac:spMkLst>
            <pc:docMk/>
            <pc:sldMk cId="3657127156" sldId="267"/>
            <ac:spMk id="2" creationId="{95F383E5-C155-866A-75FA-D1F1C2FACAA0}"/>
          </ac:spMkLst>
        </pc:spChg>
        <pc:graphicFrameChg chg="add mod modGraphic">
          <ac:chgData name="Annie Novacek" userId="65aff286-fe54-490e-ad4f-51eed0611e27" providerId="ADAL" clId="{D6F5A823-BBCF-41DA-B94D-8A2AA2A1656E}" dt="2024-11-25T14:28:13.159" v="3739" actId="1076"/>
          <ac:graphicFrameMkLst>
            <pc:docMk/>
            <pc:sldMk cId="3657127156" sldId="267"/>
            <ac:graphicFrameMk id="5" creationId="{1914FCE7-CB11-63D6-8631-C94D3165DA34}"/>
          </ac:graphicFrameMkLst>
        </pc:graphicFrameChg>
      </pc:sldChg>
      <pc:sldChg chg="addSp delSp modSp add mod modNotesTx">
        <pc:chgData name="Annie Novacek" userId="65aff286-fe54-490e-ad4f-51eed0611e27" providerId="ADAL" clId="{D6F5A823-BBCF-41DA-B94D-8A2AA2A1656E}" dt="2024-11-25T20:05:49.497" v="14446" actId="113"/>
        <pc:sldMkLst>
          <pc:docMk/>
          <pc:sldMk cId="1802050745" sldId="268"/>
        </pc:sldMkLst>
        <pc:spChg chg="mod">
          <ac:chgData name="Annie Novacek" userId="65aff286-fe54-490e-ad4f-51eed0611e27" providerId="ADAL" clId="{D6F5A823-BBCF-41DA-B94D-8A2AA2A1656E}" dt="2024-11-18T14:57:52.831" v="365" actId="20577"/>
          <ac:spMkLst>
            <pc:docMk/>
            <pc:sldMk cId="1802050745" sldId="268"/>
            <ac:spMk id="2" creationId="{5AE3E9E3-DDED-C391-C602-159710FEA582}"/>
          </ac:spMkLst>
        </pc:spChg>
        <pc:spChg chg="mod">
          <ac:chgData name="Annie Novacek" userId="65aff286-fe54-490e-ad4f-51eed0611e27" providerId="ADAL" clId="{D6F5A823-BBCF-41DA-B94D-8A2AA2A1656E}" dt="2024-11-25T14:49:31.013" v="3912" actId="14100"/>
          <ac:spMkLst>
            <pc:docMk/>
            <pc:sldMk cId="1802050745" sldId="268"/>
            <ac:spMk id="3" creationId="{452C3675-6779-C7B2-97DA-5F495CF0BA21}"/>
          </ac:spMkLst>
        </pc:spChg>
        <pc:spChg chg="add mod">
          <ac:chgData name="Annie Novacek" userId="65aff286-fe54-490e-ad4f-51eed0611e27" providerId="ADAL" clId="{D6F5A823-BBCF-41DA-B94D-8A2AA2A1656E}" dt="2024-11-25T14:49:51.492" v="3916" actId="1076"/>
          <ac:spMkLst>
            <pc:docMk/>
            <pc:sldMk cId="1802050745" sldId="268"/>
            <ac:spMk id="8" creationId="{8BEA77B5-77CA-4FC2-3A4E-E69D4A9C9AA2}"/>
          </ac:spMkLst>
        </pc:spChg>
        <pc:picChg chg="add mod modCrop">
          <ac:chgData name="Annie Novacek" userId="65aff286-fe54-490e-ad4f-51eed0611e27" providerId="ADAL" clId="{D6F5A823-BBCF-41DA-B94D-8A2AA2A1656E}" dt="2024-11-25T14:38:26.939" v="3905" actId="732"/>
          <ac:picMkLst>
            <pc:docMk/>
            <pc:sldMk cId="1802050745" sldId="268"/>
            <ac:picMk id="6" creationId="{99C4F672-7636-2201-334A-CC488B331B55}"/>
          </ac:picMkLst>
        </pc:picChg>
      </pc:sldChg>
      <pc:sldChg chg="addSp delSp modSp add mod ord modNotesTx">
        <pc:chgData name="Annie Novacek" userId="65aff286-fe54-490e-ad4f-51eed0611e27" providerId="ADAL" clId="{D6F5A823-BBCF-41DA-B94D-8A2AA2A1656E}" dt="2024-11-25T20:10:38.505" v="15670" actId="20577"/>
        <pc:sldMkLst>
          <pc:docMk/>
          <pc:sldMk cId="1639839727" sldId="269"/>
        </pc:sldMkLst>
        <pc:spChg chg="mod">
          <ac:chgData name="Annie Novacek" userId="65aff286-fe54-490e-ad4f-51eed0611e27" providerId="ADAL" clId="{D6F5A823-BBCF-41DA-B94D-8A2AA2A1656E}" dt="2024-11-18T14:58:22.482" v="400" actId="20577"/>
          <ac:spMkLst>
            <pc:docMk/>
            <pc:sldMk cId="1639839727" sldId="269"/>
            <ac:spMk id="2" creationId="{28033809-EBE0-6782-F008-07CF306CFCB4}"/>
          </ac:spMkLst>
        </pc:spChg>
        <pc:graphicFrameChg chg="add mod modGraphic">
          <ac:chgData name="Annie Novacek" userId="65aff286-fe54-490e-ad4f-51eed0611e27" providerId="ADAL" clId="{D6F5A823-BBCF-41DA-B94D-8A2AA2A1656E}" dt="2024-11-22T20:52:37.396" v="3250" actId="207"/>
          <ac:graphicFrameMkLst>
            <pc:docMk/>
            <pc:sldMk cId="1639839727" sldId="269"/>
            <ac:graphicFrameMk id="5" creationId="{74902F51-8A47-5956-2A70-C7D206EB64ED}"/>
          </ac:graphicFrameMkLst>
        </pc:graphicFrameChg>
      </pc:sldChg>
      <pc:sldChg chg="addSp delSp modSp new mod modNotesTx">
        <pc:chgData name="Annie Novacek" userId="65aff286-fe54-490e-ad4f-51eed0611e27" providerId="ADAL" clId="{D6F5A823-BBCF-41DA-B94D-8A2AA2A1656E}" dt="2024-11-26T16:12:09.493" v="27967" actId="20577"/>
        <pc:sldMkLst>
          <pc:docMk/>
          <pc:sldMk cId="3620104243" sldId="270"/>
        </pc:sldMkLst>
        <pc:spChg chg="mod">
          <ac:chgData name="Annie Novacek" userId="65aff286-fe54-490e-ad4f-51eed0611e27" providerId="ADAL" clId="{D6F5A823-BBCF-41DA-B94D-8A2AA2A1656E}" dt="2024-11-18T16:38:53.722" v="1587" actId="20577"/>
          <ac:spMkLst>
            <pc:docMk/>
            <pc:sldMk cId="3620104243" sldId="270"/>
            <ac:spMk id="2" creationId="{E247B611-A234-4B13-E9F0-E8A6FDEA1625}"/>
          </ac:spMkLst>
        </pc:spChg>
        <pc:spChg chg="add mod">
          <ac:chgData name="Annie Novacek" userId="65aff286-fe54-490e-ad4f-51eed0611e27" providerId="ADAL" clId="{D6F5A823-BBCF-41DA-B94D-8A2AA2A1656E}" dt="2024-11-18T16:45:19.761" v="1882" actId="1076"/>
          <ac:spMkLst>
            <pc:docMk/>
            <pc:sldMk cId="3620104243" sldId="270"/>
            <ac:spMk id="6" creationId="{65E1EE4F-B146-C762-8CD3-81E5BD9692BF}"/>
          </ac:spMkLst>
        </pc:spChg>
        <pc:spChg chg="add mod">
          <ac:chgData name="Annie Novacek" userId="65aff286-fe54-490e-ad4f-51eed0611e27" providerId="ADAL" clId="{D6F5A823-BBCF-41DA-B94D-8A2AA2A1656E}" dt="2024-11-18T16:48:40.325" v="2054" actId="208"/>
          <ac:spMkLst>
            <pc:docMk/>
            <pc:sldMk cId="3620104243" sldId="270"/>
            <ac:spMk id="7" creationId="{DB6C0425-D116-1066-2611-F1B7779518DF}"/>
          </ac:spMkLst>
        </pc:spChg>
        <pc:spChg chg="add mod">
          <ac:chgData name="Annie Novacek" userId="65aff286-fe54-490e-ad4f-51eed0611e27" providerId="ADAL" clId="{D6F5A823-BBCF-41DA-B94D-8A2AA2A1656E}" dt="2024-11-18T16:50:38.894" v="2062" actId="20577"/>
          <ac:spMkLst>
            <pc:docMk/>
            <pc:sldMk cId="3620104243" sldId="270"/>
            <ac:spMk id="8" creationId="{330628D5-F3E6-EB9E-A118-2E01726C9A63}"/>
          </ac:spMkLst>
        </pc:spChg>
        <pc:spChg chg="add mod">
          <ac:chgData name="Annie Novacek" userId="65aff286-fe54-490e-ad4f-51eed0611e27" providerId="ADAL" clId="{D6F5A823-BBCF-41DA-B94D-8A2AA2A1656E}" dt="2024-11-18T16:47:53.643" v="2036" actId="1076"/>
          <ac:spMkLst>
            <pc:docMk/>
            <pc:sldMk cId="3620104243" sldId="270"/>
            <ac:spMk id="9" creationId="{DCBC04E7-AE47-7A21-3B0E-ADBB17868EBB}"/>
          </ac:spMkLst>
        </pc:spChg>
        <pc:spChg chg="add mod ord">
          <ac:chgData name="Annie Novacek" userId="65aff286-fe54-490e-ad4f-51eed0611e27" providerId="ADAL" clId="{D6F5A823-BBCF-41DA-B94D-8A2AA2A1656E}" dt="2024-11-18T16:48:17.585" v="2040" actId="167"/>
          <ac:spMkLst>
            <pc:docMk/>
            <pc:sldMk cId="3620104243" sldId="270"/>
            <ac:spMk id="10" creationId="{E258710C-6A8C-C01F-6DE7-C4AAC30F8BB9}"/>
          </ac:spMkLst>
        </pc:spChg>
        <pc:spChg chg="add mod ord">
          <ac:chgData name="Annie Novacek" userId="65aff286-fe54-490e-ad4f-51eed0611e27" providerId="ADAL" clId="{D6F5A823-BBCF-41DA-B94D-8A2AA2A1656E}" dt="2024-11-18T16:48:35.174" v="2053" actId="207"/>
          <ac:spMkLst>
            <pc:docMk/>
            <pc:sldMk cId="3620104243" sldId="270"/>
            <ac:spMk id="11" creationId="{FFB53D08-7811-707C-FC6D-053F7B264D91}"/>
          </ac:spMkLst>
        </pc:spChg>
        <pc:graphicFrameChg chg="add mod modGraphic">
          <ac:chgData name="Annie Novacek" userId="65aff286-fe54-490e-ad4f-51eed0611e27" providerId="ADAL" clId="{D6F5A823-BBCF-41DA-B94D-8A2AA2A1656E}" dt="2024-11-18T16:50:16.631" v="2057" actId="207"/>
          <ac:graphicFrameMkLst>
            <pc:docMk/>
            <pc:sldMk cId="3620104243" sldId="270"/>
            <ac:graphicFrameMk id="5" creationId="{098EE2E3-1897-FCC2-62E0-25C10D4D1C22}"/>
          </ac:graphicFrameMkLst>
        </pc:graphicFrameChg>
      </pc:sldChg>
      <pc:sldChg chg="addSp delSp modSp add mod chgLayout modNotesTx">
        <pc:chgData name="Annie Novacek" userId="65aff286-fe54-490e-ad4f-51eed0611e27" providerId="ADAL" clId="{D6F5A823-BBCF-41DA-B94D-8A2AA2A1656E}" dt="2024-11-26T16:13:54.784" v="28516" actId="113"/>
        <pc:sldMkLst>
          <pc:docMk/>
          <pc:sldMk cId="1063654300" sldId="271"/>
        </pc:sldMkLst>
        <pc:spChg chg="mod ord">
          <ac:chgData name="Annie Novacek" userId="65aff286-fe54-490e-ad4f-51eed0611e27" providerId="ADAL" clId="{D6F5A823-BBCF-41DA-B94D-8A2AA2A1656E}" dt="2024-11-25T17:22:21.258" v="8914" actId="700"/>
          <ac:spMkLst>
            <pc:docMk/>
            <pc:sldMk cId="1063654300" sldId="271"/>
            <ac:spMk id="2" creationId="{E7256B13-0952-5210-AB33-0A236B04271C}"/>
          </ac:spMkLst>
        </pc:spChg>
        <pc:spChg chg="add mod ord">
          <ac:chgData name="Annie Novacek" userId="65aff286-fe54-490e-ad4f-51eed0611e27" providerId="ADAL" clId="{D6F5A823-BBCF-41DA-B94D-8A2AA2A1656E}" dt="2024-11-25T17:22:36.916" v="8948" actId="14100"/>
          <ac:spMkLst>
            <pc:docMk/>
            <pc:sldMk cId="1063654300" sldId="271"/>
            <ac:spMk id="7" creationId="{0AFCAC59-4754-0E8C-755B-1FD9F8370D9A}"/>
          </ac:spMkLst>
        </pc:spChg>
        <pc:spChg chg="add mod ord">
          <ac:chgData name="Annie Novacek" userId="65aff286-fe54-490e-ad4f-51eed0611e27" providerId="ADAL" clId="{D6F5A823-BBCF-41DA-B94D-8A2AA2A1656E}" dt="2024-11-25T17:22:21.258" v="8914" actId="700"/>
          <ac:spMkLst>
            <pc:docMk/>
            <pc:sldMk cId="1063654300" sldId="271"/>
            <ac:spMk id="8" creationId="{94CC89EB-4774-9215-0A23-38305A77F5AE}"/>
          </ac:spMkLst>
        </pc:spChg>
        <pc:graphicFrameChg chg="add mod modGraphic">
          <ac:chgData name="Annie Novacek" userId="65aff286-fe54-490e-ad4f-51eed0611e27" providerId="ADAL" clId="{D6F5A823-BBCF-41DA-B94D-8A2AA2A1656E}" dt="2024-11-25T17:38:41.608" v="11125" actId="207"/>
          <ac:graphicFrameMkLst>
            <pc:docMk/>
            <pc:sldMk cId="1063654300" sldId="271"/>
            <ac:graphicFrameMk id="10" creationId="{5FD87A70-C4BD-13E5-FBDC-053AF840D030}"/>
          </ac:graphicFrameMkLst>
        </pc:graphicFrameChg>
      </pc:sldChg>
      <pc:sldChg chg="addSp delSp modSp new mod modClrScheme chgLayout modNotesTx">
        <pc:chgData name="Annie Novacek" userId="65aff286-fe54-490e-ad4f-51eed0611e27" providerId="ADAL" clId="{D6F5A823-BBCF-41DA-B94D-8A2AA2A1656E}" dt="2024-11-25T20:25:58.761" v="17036" actId="20577"/>
        <pc:sldMkLst>
          <pc:docMk/>
          <pc:sldMk cId="3548564232" sldId="272"/>
        </pc:sldMkLst>
        <pc:spChg chg="mod ord">
          <ac:chgData name="Annie Novacek" userId="65aff286-fe54-490e-ad4f-51eed0611e27" providerId="ADAL" clId="{D6F5A823-BBCF-41DA-B94D-8A2AA2A1656E}" dt="2024-11-22T20:54:08.270" v="3277" actId="14100"/>
          <ac:spMkLst>
            <pc:docMk/>
            <pc:sldMk cId="3548564232" sldId="272"/>
            <ac:spMk id="2" creationId="{78AFDA99-4345-64A1-2C02-0A91945B3903}"/>
          </ac:spMkLst>
        </pc:spChg>
        <pc:spChg chg="add mod">
          <ac:chgData name="Annie Novacek" userId="65aff286-fe54-490e-ad4f-51eed0611e27" providerId="ADAL" clId="{D6F5A823-BBCF-41DA-B94D-8A2AA2A1656E}" dt="2024-11-25T14:51:20.403" v="3953" actId="20577"/>
          <ac:spMkLst>
            <pc:docMk/>
            <pc:sldMk cId="3548564232" sldId="272"/>
            <ac:spMk id="11" creationId="{8870F49C-4F90-9DC0-2701-7C0EFD2332CC}"/>
          </ac:spMkLst>
        </pc:spChg>
        <pc:spChg chg="add mod">
          <ac:chgData name="Annie Novacek" userId="65aff286-fe54-490e-ad4f-51eed0611e27" providerId="ADAL" clId="{D6F5A823-BBCF-41DA-B94D-8A2AA2A1656E}" dt="2024-11-25T14:50:44.501" v="3951" actId="20577"/>
          <ac:spMkLst>
            <pc:docMk/>
            <pc:sldMk cId="3548564232" sldId="272"/>
            <ac:spMk id="12" creationId="{3A39C4B8-7737-8618-DE29-467CCEE602B1}"/>
          </ac:spMkLst>
        </pc:spChg>
        <pc:spChg chg="add mod">
          <ac:chgData name="Annie Novacek" userId="65aff286-fe54-490e-ad4f-51eed0611e27" providerId="ADAL" clId="{D6F5A823-BBCF-41DA-B94D-8A2AA2A1656E}" dt="2024-11-22T20:25:49.307" v="3174" actId="313"/>
          <ac:spMkLst>
            <pc:docMk/>
            <pc:sldMk cId="3548564232" sldId="272"/>
            <ac:spMk id="13" creationId="{2E0E997E-A415-BCE2-AC38-2437FA787F75}"/>
          </ac:spMkLst>
        </pc:spChg>
        <pc:spChg chg="add mod">
          <ac:chgData name="Annie Novacek" userId="65aff286-fe54-490e-ad4f-51eed0611e27" providerId="ADAL" clId="{D6F5A823-BBCF-41DA-B94D-8A2AA2A1656E}" dt="2024-11-22T20:54:04.461" v="3276" actId="1076"/>
          <ac:spMkLst>
            <pc:docMk/>
            <pc:sldMk cId="3548564232" sldId="272"/>
            <ac:spMk id="14" creationId="{250BB3D3-EC14-5FA7-129D-99DF9A7F4DE4}"/>
          </ac:spMkLst>
        </pc:spChg>
        <pc:graphicFrameChg chg="add mod modGraphic">
          <ac:chgData name="Annie Novacek" userId="65aff286-fe54-490e-ad4f-51eed0611e27" providerId="ADAL" clId="{D6F5A823-BBCF-41DA-B94D-8A2AA2A1656E}" dt="2024-11-25T16:12:30.235" v="6606" actId="1076"/>
          <ac:graphicFrameMkLst>
            <pc:docMk/>
            <pc:sldMk cId="3548564232" sldId="272"/>
            <ac:graphicFrameMk id="10" creationId="{F9E6E818-C7EC-10EA-63B2-E17425A8F125}"/>
          </ac:graphicFrameMkLst>
        </pc:graphicFrameChg>
      </pc:sldChg>
      <pc:sldChg chg="addSp delSp modSp add mod modNotesTx">
        <pc:chgData name="Annie Novacek" userId="65aff286-fe54-490e-ad4f-51eed0611e27" providerId="ADAL" clId="{D6F5A823-BBCF-41DA-B94D-8A2AA2A1656E}" dt="2024-11-26T15:19:38.297" v="19136" actId="20577"/>
        <pc:sldMkLst>
          <pc:docMk/>
          <pc:sldMk cId="442681554" sldId="273"/>
        </pc:sldMkLst>
        <pc:spChg chg="mod">
          <ac:chgData name="Annie Novacek" userId="65aff286-fe54-490e-ad4f-51eed0611e27" providerId="ADAL" clId="{D6F5A823-BBCF-41DA-B94D-8A2AA2A1656E}" dt="2024-11-22T20:54:22.765" v="3279" actId="14100"/>
          <ac:spMkLst>
            <pc:docMk/>
            <pc:sldMk cId="442681554" sldId="273"/>
            <ac:spMk id="2" creationId="{201C34B7-DB6F-D0BB-D8E8-1C321E92F820}"/>
          </ac:spMkLst>
        </pc:spChg>
        <pc:spChg chg="mod">
          <ac:chgData name="Annie Novacek" userId="65aff286-fe54-490e-ad4f-51eed0611e27" providerId="ADAL" clId="{D6F5A823-BBCF-41DA-B94D-8A2AA2A1656E}" dt="2024-11-25T15:12:12.535" v="5184" actId="20577"/>
          <ac:spMkLst>
            <pc:docMk/>
            <pc:sldMk cId="442681554" sldId="273"/>
            <ac:spMk id="3" creationId="{4B221442-B463-BC6B-9F5C-A383A035A01D}"/>
          </ac:spMkLst>
        </pc:spChg>
        <pc:spChg chg="add mod">
          <ac:chgData name="Annie Novacek" userId="65aff286-fe54-490e-ad4f-51eed0611e27" providerId="ADAL" clId="{D6F5A823-BBCF-41DA-B94D-8A2AA2A1656E}" dt="2024-11-22T20:54:19.925" v="3278" actId="1076"/>
          <ac:spMkLst>
            <pc:docMk/>
            <pc:sldMk cId="442681554" sldId="273"/>
            <ac:spMk id="5" creationId="{747217E9-C650-B110-9D13-E04DB022BFB9}"/>
          </ac:spMkLst>
        </pc:spChg>
        <pc:spChg chg="add mod">
          <ac:chgData name="Annie Novacek" userId="65aff286-fe54-490e-ad4f-51eed0611e27" providerId="ADAL" clId="{D6F5A823-BBCF-41DA-B94D-8A2AA2A1656E}" dt="2024-11-25T15:12:14.026" v="5185" actId="20577"/>
          <ac:spMkLst>
            <pc:docMk/>
            <pc:sldMk cId="442681554" sldId="273"/>
            <ac:spMk id="6" creationId="{788DCDA9-BAE9-87E6-BBF5-969F6CA8F2FC}"/>
          </ac:spMkLst>
        </pc:spChg>
        <pc:picChg chg="add mod">
          <ac:chgData name="Annie Novacek" userId="65aff286-fe54-490e-ad4f-51eed0611e27" providerId="ADAL" clId="{D6F5A823-BBCF-41DA-B94D-8A2AA2A1656E}" dt="2024-11-25T15:46:18.109" v="6596" actId="1440"/>
          <ac:picMkLst>
            <pc:docMk/>
            <pc:sldMk cId="442681554" sldId="273"/>
            <ac:picMk id="8" creationId="{E24A7754-3484-E428-05EF-4CC4B281F188}"/>
          </ac:picMkLst>
        </pc:picChg>
      </pc:sldChg>
      <pc:sldChg chg="addSp modSp add mod modNotesTx">
        <pc:chgData name="Annie Novacek" userId="65aff286-fe54-490e-ad4f-51eed0611e27" providerId="ADAL" clId="{D6F5A823-BBCF-41DA-B94D-8A2AA2A1656E}" dt="2024-11-26T15:27:14.507" v="21168" actId="20577"/>
        <pc:sldMkLst>
          <pc:docMk/>
          <pc:sldMk cId="2212519705" sldId="274"/>
        </pc:sldMkLst>
        <pc:spChg chg="mod">
          <ac:chgData name="Annie Novacek" userId="65aff286-fe54-490e-ad4f-51eed0611e27" providerId="ADAL" clId="{D6F5A823-BBCF-41DA-B94D-8A2AA2A1656E}" dt="2024-11-22T20:56:50.847" v="3342" actId="14100"/>
          <ac:spMkLst>
            <pc:docMk/>
            <pc:sldMk cId="2212519705" sldId="274"/>
            <ac:spMk id="2" creationId="{31D0DC96-85D0-633F-F9A8-31B3EFE950A6}"/>
          </ac:spMkLst>
        </pc:spChg>
        <pc:spChg chg="mod">
          <ac:chgData name="Annie Novacek" userId="65aff286-fe54-490e-ad4f-51eed0611e27" providerId="ADAL" clId="{D6F5A823-BBCF-41DA-B94D-8A2AA2A1656E}" dt="2024-11-25T16:47:29.103" v="7943" actId="2710"/>
          <ac:spMkLst>
            <pc:docMk/>
            <pc:sldMk cId="2212519705" sldId="274"/>
            <ac:spMk id="3" creationId="{63696809-2573-5791-F67E-36A5E0544BC1}"/>
          </ac:spMkLst>
        </pc:spChg>
        <pc:spChg chg="add mod">
          <ac:chgData name="Annie Novacek" userId="65aff286-fe54-490e-ad4f-51eed0611e27" providerId="ADAL" clId="{D6F5A823-BBCF-41DA-B94D-8A2AA2A1656E}" dt="2024-11-22T20:56:48.125" v="3341" actId="1076"/>
          <ac:spMkLst>
            <pc:docMk/>
            <pc:sldMk cId="2212519705" sldId="274"/>
            <ac:spMk id="5" creationId="{2A6D32F4-3B67-41A4-2FBD-42C38F242E3F}"/>
          </ac:spMkLst>
        </pc:spChg>
      </pc:sldChg>
      <pc:sldChg chg="addSp modSp add mod modNotesTx">
        <pc:chgData name="Annie Novacek" userId="65aff286-fe54-490e-ad4f-51eed0611e27" providerId="ADAL" clId="{D6F5A823-BBCF-41DA-B94D-8A2AA2A1656E}" dt="2024-11-26T15:44:14.294" v="21843" actId="20577"/>
        <pc:sldMkLst>
          <pc:docMk/>
          <pc:sldMk cId="1996515181" sldId="275"/>
        </pc:sldMkLst>
        <pc:spChg chg="mod">
          <ac:chgData name="Annie Novacek" userId="65aff286-fe54-490e-ad4f-51eed0611e27" providerId="ADAL" clId="{D6F5A823-BBCF-41DA-B94D-8A2AA2A1656E}" dt="2024-11-22T20:57:59.453" v="3353" actId="14100"/>
          <ac:spMkLst>
            <pc:docMk/>
            <pc:sldMk cId="1996515181" sldId="275"/>
            <ac:spMk id="2" creationId="{EE6AD99C-10EE-5E4C-A8AF-CA1763F7810E}"/>
          </ac:spMkLst>
        </pc:spChg>
        <pc:spChg chg="mod">
          <ac:chgData name="Annie Novacek" userId="65aff286-fe54-490e-ad4f-51eed0611e27" providerId="ADAL" clId="{D6F5A823-BBCF-41DA-B94D-8A2AA2A1656E}" dt="2024-11-25T16:57:11.140" v="8185" actId="113"/>
          <ac:spMkLst>
            <pc:docMk/>
            <pc:sldMk cId="1996515181" sldId="275"/>
            <ac:spMk id="3" creationId="{EBF3A5CC-AD95-3769-990E-2A32EF6DC093}"/>
          </ac:spMkLst>
        </pc:spChg>
        <pc:spChg chg="add mod">
          <ac:chgData name="Annie Novacek" userId="65aff286-fe54-490e-ad4f-51eed0611e27" providerId="ADAL" clId="{D6F5A823-BBCF-41DA-B94D-8A2AA2A1656E}" dt="2024-11-22T20:57:55.790" v="3352" actId="1076"/>
          <ac:spMkLst>
            <pc:docMk/>
            <pc:sldMk cId="1996515181" sldId="275"/>
            <ac:spMk id="5" creationId="{44C1247D-BA52-D9EB-A047-7055BB3D24EA}"/>
          </ac:spMkLst>
        </pc:spChg>
        <pc:spChg chg="add mod">
          <ac:chgData name="Annie Novacek" userId="65aff286-fe54-490e-ad4f-51eed0611e27" providerId="ADAL" clId="{D6F5A823-BBCF-41DA-B94D-8A2AA2A1656E}" dt="2024-11-25T16:59:07.555" v="8241" actId="403"/>
          <ac:spMkLst>
            <pc:docMk/>
            <pc:sldMk cId="1996515181" sldId="275"/>
            <ac:spMk id="6" creationId="{FEEEBE62-F338-7EC5-6184-1F1E0F7BBAC0}"/>
          </ac:spMkLst>
        </pc:spChg>
        <pc:picChg chg="add mod">
          <ac:chgData name="Annie Novacek" userId="65aff286-fe54-490e-ad4f-51eed0611e27" providerId="ADAL" clId="{D6F5A823-BBCF-41DA-B94D-8A2AA2A1656E}" dt="2024-11-25T16:59:13.647" v="8242" actId="1076"/>
          <ac:picMkLst>
            <pc:docMk/>
            <pc:sldMk cId="1996515181" sldId="275"/>
            <ac:picMk id="8" creationId="{0D88319C-C016-63C1-2D21-2C38A322FBE7}"/>
          </ac:picMkLst>
        </pc:picChg>
        <pc:picChg chg="add mod">
          <ac:chgData name="Annie Novacek" userId="65aff286-fe54-490e-ad4f-51eed0611e27" providerId="ADAL" clId="{D6F5A823-BBCF-41DA-B94D-8A2AA2A1656E}" dt="2024-11-25T16:58:20.340" v="8187" actId="1076"/>
          <ac:picMkLst>
            <pc:docMk/>
            <pc:sldMk cId="1996515181" sldId="275"/>
            <ac:picMk id="5122" creationId="{D66C888C-8D23-0A78-3CB0-BAB995E6E791}"/>
          </ac:picMkLst>
        </pc:picChg>
      </pc:sldChg>
      <pc:sldChg chg="addSp modSp add mod modNotesTx">
        <pc:chgData name="Annie Novacek" userId="65aff286-fe54-490e-ad4f-51eed0611e27" providerId="ADAL" clId="{D6F5A823-BBCF-41DA-B94D-8A2AA2A1656E}" dt="2024-11-26T16:04:34.309" v="25982" actId="20577"/>
        <pc:sldMkLst>
          <pc:docMk/>
          <pc:sldMk cId="2346909353" sldId="276"/>
        </pc:sldMkLst>
        <pc:spChg chg="mod">
          <ac:chgData name="Annie Novacek" userId="65aff286-fe54-490e-ad4f-51eed0611e27" providerId="ADAL" clId="{D6F5A823-BBCF-41DA-B94D-8A2AA2A1656E}" dt="2024-11-22T20:59:40.099" v="3391" actId="14100"/>
          <ac:spMkLst>
            <pc:docMk/>
            <pc:sldMk cId="2346909353" sldId="276"/>
            <ac:spMk id="2" creationId="{82FAC0AB-8FFC-BB22-D8CB-41302449F3D3}"/>
          </ac:spMkLst>
        </pc:spChg>
        <pc:spChg chg="mod">
          <ac:chgData name="Annie Novacek" userId="65aff286-fe54-490e-ad4f-51eed0611e27" providerId="ADAL" clId="{D6F5A823-BBCF-41DA-B94D-8A2AA2A1656E}" dt="2024-11-25T15:31:20.350" v="5696" actId="2710"/>
          <ac:spMkLst>
            <pc:docMk/>
            <pc:sldMk cId="2346909353" sldId="276"/>
            <ac:spMk id="3" creationId="{95CF0A59-12BB-989D-E2FC-ECC13A20404B}"/>
          </ac:spMkLst>
        </pc:spChg>
        <pc:spChg chg="add mod">
          <ac:chgData name="Annie Novacek" userId="65aff286-fe54-490e-ad4f-51eed0611e27" providerId="ADAL" clId="{D6F5A823-BBCF-41DA-B94D-8A2AA2A1656E}" dt="2024-11-22T20:59:36.355" v="3390" actId="14100"/>
          <ac:spMkLst>
            <pc:docMk/>
            <pc:sldMk cId="2346909353" sldId="276"/>
            <ac:spMk id="5" creationId="{3469055F-D31E-F261-AC1B-D990B8A629A3}"/>
          </ac:spMkLst>
        </pc:spChg>
      </pc:sldChg>
      <pc:sldChg chg="addSp modSp add del mod">
        <pc:chgData name="Annie Novacek" userId="65aff286-fe54-490e-ad4f-51eed0611e27" providerId="ADAL" clId="{D6F5A823-BBCF-41DA-B94D-8A2AA2A1656E}" dt="2024-11-25T16:40:05.841" v="7255" actId="47"/>
        <pc:sldMkLst>
          <pc:docMk/>
          <pc:sldMk cId="4143599282" sldId="277"/>
        </pc:sldMkLst>
      </pc:sldChg>
      <pc:sldChg chg="addSp delSp modSp add mod modNotesTx">
        <pc:chgData name="Annie Novacek" userId="65aff286-fe54-490e-ad4f-51eed0611e27" providerId="ADAL" clId="{D6F5A823-BBCF-41DA-B94D-8A2AA2A1656E}" dt="2024-11-26T15:51:25.894" v="23832" actId="20577"/>
        <pc:sldMkLst>
          <pc:docMk/>
          <pc:sldMk cId="1195252205" sldId="278"/>
        </pc:sldMkLst>
        <pc:spChg chg="mod">
          <ac:chgData name="Annie Novacek" userId="65aff286-fe54-490e-ad4f-51eed0611e27" providerId="ADAL" clId="{D6F5A823-BBCF-41DA-B94D-8A2AA2A1656E}" dt="2024-11-22T20:58:46.886" v="3367" actId="14100"/>
          <ac:spMkLst>
            <pc:docMk/>
            <pc:sldMk cId="1195252205" sldId="278"/>
            <ac:spMk id="2" creationId="{BF0A20AA-47BB-93E2-5EDC-C578FBA2B496}"/>
          </ac:spMkLst>
        </pc:spChg>
        <pc:spChg chg="add del mod">
          <ac:chgData name="Annie Novacek" userId="65aff286-fe54-490e-ad4f-51eed0611e27" providerId="ADAL" clId="{D6F5A823-BBCF-41DA-B94D-8A2AA2A1656E}" dt="2024-11-25T15:41:49.210" v="6584" actId="20577"/>
          <ac:spMkLst>
            <pc:docMk/>
            <pc:sldMk cId="1195252205" sldId="278"/>
            <ac:spMk id="3" creationId="{A647A3CD-AD3D-408B-A856-0A69C5E4F5E3}"/>
          </ac:spMkLst>
        </pc:spChg>
        <pc:spChg chg="add mod">
          <ac:chgData name="Annie Novacek" userId="65aff286-fe54-490e-ad4f-51eed0611e27" providerId="ADAL" clId="{D6F5A823-BBCF-41DA-B94D-8A2AA2A1656E}" dt="2024-11-22T20:58:43.596" v="3366" actId="1076"/>
          <ac:spMkLst>
            <pc:docMk/>
            <pc:sldMk cId="1195252205" sldId="278"/>
            <ac:spMk id="5" creationId="{CFF16B1D-9F86-7747-3FD1-F9CEDFAEA078}"/>
          </ac:spMkLst>
        </pc:spChg>
        <pc:picChg chg="add mod">
          <ac:chgData name="Annie Novacek" userId="65aff286-fe54-490e-ad4f-51eed0611e27" providerId="ADAL" clId="{D6F5A823-BBCF-41DA-B94D-8A2AA2A1656E}" dt="2024-11-25T15:43:03.653" v="6590" actId="1076"/>
          <ac:picMkLst>
            <pc:docMk/>
            <pc:sldMk cId="1195252205" sldId="278"/>
            <ac:picMk id="7" creationId="{93202710-2D9B-4D09-7F87-1254CB8C9D91}"/>
          </ac:picMkLst>
        </pc:picChg>
      </pc:sldChg>
      <pc:sldChg chg="addSp modSp add del">
        <pc:chgData name="Annie Novacek" userId="65aff286-fe54-490e-ad4f-51eed0611e27" providerId="ADAL" clId="{D6F5A823-BBCF-41DA-B94D-8A2AA2A1656E}" dt="2024-11-22T20:56:34.135" v="3331" actId="47"/>
        <pc:sldMkLst>
          <pc:docMk/>
          <pc:sldMk cId="286842198" sldId="279"/>
        </pc:sldMkLst>
      </pc:sldChg>
      <pc:sldChg chg="addSp delSp modSp add mod ord modNotesTx">
        <pc:chgData name="Annie Novacek" userId="65aff286-fe54-490e-ad4f-51eed0611e27" providerId="ADAL" clId="{D6F5A823-BBCF-41DA-B94D-8A2AA2A1656E}" dt="2024-11-26T15:21:19.715" v="19579" actId="20577"/>
        <pc:sldMkLst>
          <pc:docMk/>
          <pc:sldMk cId="3786733541" sldId="280"/>
        </pc:sldMkLst>
        <pc:spChg chg="mod">
          <ac:chgData name="Annie Novacek" userId="65aff286-fe54-490e-ad4f-51eed0611e27" providerId="ADAL" clId="{D6F5A823-BBCF-41DA-B94D-8A2AA2A1656E}" dt="2024-11-22T20:54:43.985" v="3286" actId="14100"/>
          <ac:spMkLst>
            <pc:docMk/>
            <pc:sldMk cId="3786733541" sldId="280"/>
            <ac:spMk id="2" creationId="{CED6BB22-A99E-95D4-9003-8AE64D31A0EB}"/>
          </ac:spMkLst>
        </pc:spChg>
        <pc:spChg chg="mod">
          <ac:chgData name="Annie Novacek" userId="65aff286-fe54-490e-ad4f-51eed0611e27" providerId="ADAL" clId="{D6F5A823-BBCF-41DA-B94D-8A2AA2A1656E}" dt="2024-11-25T15:21:19.316" v="5430" actId="12"/>
          <ac:spMkLst>
            <pc:docMk/>
            <pc:sldMk cId="3786733541" sldId="280"/>
            <ac:spMk id="3" creationId="{870FA7B4-C2F2-682F-0B31-AC24737D10CE}"/>
          </ac:spMkLst>
        </pc:spChg>
        <pc:spChg chg="add mod">
          <ac:chgData name="Annie Novacek" userId="65aff286-fe54-490e-ad4f-51eed0611e27" providerId="ADAL" clId="{D6F5A823-BBCF-41DA-B94D-8A2AA2A1656E}" dt="2024-11-22T20:54:40.559" v="3285"/>
          <ac:spMkLst>
            <pc:docMk/>
            <pc:sldMk cId="3786733541" sldId="280"/>
            <ac:spMk id="5" creationId="{25FFB84F-B43E-CFAC-9E31-3F4EE678B96A}"/>
          </ac:spMkLst>
        </pc:spChg>
        <pc:spChg chg="add mod">
          <ac:chgData name="Annie Novacek" userId="65aff286-fe54-490e-ad4f-51eed0611e27" providerId="ADAL" clId="{D6F5A823-BBCF-41DA-B94D-8A2AA2A1656E}" dt="2024-11-25T15:25:27.638" v="5495" actId="20577"/>
          <ac:spMkLst>
            <pc:docMk/>
            <pc:sldMk cId="3786733541" sldId="280"/>
            <ac:spMk id="6" creationId="{E8DB0ED2-0A6D-5AE6-39B7-ACA12FF20FAA}"/>
          </ac:spMkLst>
        </pc:spChg>
        <pc:picChg chg="add mod">
          <ac:chgData name="Annie Novacek" userId="65aff286-fe54-490e-ad4f-51eed0611e27" providerId="ADAL" clId="{D6F5A823-BBCF-41DA-B94D-8A2AA2A1656E}" dt="2024-11-25T15:21:27.512" v="5433" actId="1076"/>
          <ac:picMkLst>
            <pc:docMk/>
            <pc:sldMk cId="3786733541" sldId="280"/>
            <ac:picMk id="1026" creationId="{9A6D8431-65E9-DEFE-07FD-9036AB475912}"/>
          </ac:picMkLst>
        </pc:picChg>
        <pc:picChg chg="add mod">
          <ac:chgData name="Annie Novacek" userId="65aff286-fe54-490e-ad4f-51eed0611e27" providerId="ADAL" clId="{D6F5A823-BBCF-41DA-B94D-8A2AA2A1656E}" dt="2024-11-25T15:25:37.497" v="5498" actId="1076"/>
          <ac:picMkLst>
            <pc:docMk/>
            <pc:sldMk cId="3786733541" sldId="280"/>
            <ac:picMk id="1028" creationId="{FC52E4F7-CEAD-EF3F-C949-55078EFA328B}"/>
          </ac:picMkLst>
        </pc:picChg>
      </pc:sldChg>
      <pc:sldChg chg="modSp add mod modNotesTx">
        <pc:chgData name="Annie Novacek" userId="65aff286-fe54-490e-ad4f-51eed0611e27" providerId="ADAL" clId="{D6F5A823-BBCF-41DA-B94D-8A2AA2A1656E}" dt="2024-11-26T15:49:50.328" v="23370" actId="20577"/>
        <pc:sldMkLst>
          <pc:docMk/>
          <pc:sldMk cId="887088795" sldId="281"/>
        </pc:sldMkLst>
        <pc:spChg chg="mod">
          <ac:chgData name="Annie Novacek" userId="65aff286-fe54-490e-ad4f-51eed0611e27" providerId="ADAL" clId="{D6F5A823-BBCF-41DA-B94D-8A2AA2A1656E}" dt="2024-11-25T17:05:45.469" v="8910" actId="2710"/>
          <ac:spMkLst>
            <pc:docMk/>
            <pc:sldMk cId="887088795" sldId="281"/>
            <ac:spMk id="3" creationId="{65DD48B8-AB35-5CD2-3BE3-3247839FFB95}"/>
          </ac:spMkLst>
        </pc:spChg>
      </pc:sldChg>
      <pc:sldChg chg="addSp delSp modSp add mod modNotesTx">
        <pc:chgData name="Annie Novacek" userId="65aff286-fe54-490e-ad4f-51eed0611e27" providerId="ADAL" clId="{D6F5A823-BBCF-41DA-B94D-8A2AA2A1656E}" dt="2024-11-26T15:20:11.174" v="19256" actId="20577"/>
        <pc:sldMkLst>
          <pc:docMk/>
          <pc:sldMk cId="3345294747" sldId="282"/>
        </pc:sldMkLst>
        <pc:spChg chg="mod">
          <ac:chgData name="Annie Novacek" userId="65aff286-fe54-490e-ad4f-51eed0611e27" providerId="ADAL" clId="{D6F5A823-BBCF-41DA-B94D-8A2AA2A1656E}" dt="2024-11-25T15:46:25.515" v="6597" actId="113"/>
          <ac:spMkLst>
            <pc:docMk/>
            <pc:sldMk cId="3345294747" sldId="282"/>
            <ac:spMk id="3" creationId="{C6C0603A-18BF-A407-048B-440BA7C0BC64}"/>
          </ac:spMkLst>
        </pc:spChg>
        <pc:spChg chg="add mod">
          <ac:chgData name="Annie Novacek" userId="65aff286-fe54-490e-ad4f-51eed0611e27" providerId="ADAL" clId="{D6F5A823-BBCF-41DA-B94D-8A2AA2A1656E}" dt="2024-11-25T15:07:35.255" v="4910" actId="20577"/>
          <ac:spMkLst>
            <pc:docMk/>
            <pc:sldMk cId="3345294747" sldId="282"/>
            <ac:spMk id="6" creationId="{89E86A05-6168-FE96-31D4-CBA0545195C3}"/>
          </ac:spMkLst>
        </pc:spChg>
        <pc:spChg chg="add mod">
          <ac:chgData name="Annie Novacek" userId="65aff286-fe54-490e-ad4f-51eed0611e27" providerId="ADAL" clId="{D6F5A823-BBCF-41DA-B94D-8A2AA2A1656E}" dt="2024-11-25T16:13:44.718" v="6610" actId="207"/>
          <ac:spMkLst>
            <pc:docMk/>
            <pc:sldMk cId="3345294747" sldId="282"/>
            <ac:spMk id="13" creationId="{9F4F0BF3-DA43-C226-A4C1-D71BE6EED4CB}"/>
          </ac:spMkLst>
        </pc:spChg>
        <pc:picChg chg="add mod modCrop">
          <ac:chgData name="Annie Novacek" userId="65aff286-fe54-490e-ad4f-51eed0611e27" providerId="ADAL" clId="{D6F5A823-BBCF-41DA-B94D-8A2AA2A1656E}" dt="2024-11-25T15:08:34.352" v="4961" actId="1076"/>
          <ac:picMkLst>
            <pc:docMk/>
            <pc:sldMk cId="3345294747" sldId="282"/>
            <ac:picMk id="8" creationId="{6B54B010-7737-9F2A-279F-EA32649FEAD9}"/>
          </ac:picMkLst>
        </pc:picChg>
        <pc:picChg chg="add mod">
          <ac:chgData name="Annie Novacek" userId="65aff286-fe54-490e-ad4f-51eed0611e27" providerId="ADAL" clId="{D6F5A823-BBCF-41DA-B94D-8A2AA2A1656E}" dt="2024-11-25T15:07:51.742" v="4914" actId="1440"/>
          <ac:picMkLst>
            <pc:docMk/>
            <pc:sldMk cId="3345294747" sldId="282"/>
            <ac:picMk id="12" creationId="{C2ED6BD7-2161-3D94-D983-4E5EE6BC7EEC}"/>
          </ac:picMkLst>
        </pc:picChg>
        <pc:cxnChg chg="add mod">
          <ac:chgData name="Annie Novacek" userId="65aff286-fe54-490e-ad4f-51eed0611e27" providerId="ADAL" clId="{D6F5A823-BBCF-41DA-B94D-8A2AA2A1656E}" dt="2024-11-25T16:14:07.626" v="6615" actId="1582"/>
          <ac:cxnSpMkLst>
            <pc:docMk/>
            <pc:sldMk cId="3345294747" sldId="282"/>
            <ac:cxnSpMk id="15" creationId="{8F52E05D-7C89-163E-8512-AF72A7D1C9F6}"/>
          </ac:cxnSpMkLst>
        </pc:cxnChg>
      </pc:sldChg>
      <pc:sldChg chg="addSp delSp modSp add mod modNotesTx">
        <pc:chgData name="Annie Novacek" userId="65aff286-fe54-490e-ad4f-51eed0611e27" providerId="ADAL" clId="{D6F5A823-BBCF-41DA-B94D-8A2AA2A1656E}" dt="2024-11-25T20:44:56.434" v="18952" actId="20577"/>
        <pc:sldMkLst>
          <pc:docMk/>
          <pc:sldMk cId="3221551258" sldId="283"/>
        </pc:sldMkLst>
        <pc:spChg chg="mod">
          <ac:chgData name="Annie Novacek" userId="65aff286-fe54-490e-ad4f-51eed0611e27" providerId="ADAL" clId="{D6F5A823-BBCF-41DA-B94D-8A2AA2A1656E}" dt="2024-11-25T16:38:34.888" v="7237" actId="20577"/>
          <ac:spMkLst>
            <pc:docMk/>
            <pc:sldMk cId="3221551258" sldId="283"/>
            <ac:spMk id="3" creationId="{A3DBF8FE-538C-A002-128A-649E0D17A563}"/>
          </ac:spMkLst>
        </pc:spChg>
        <pc:picChg chg="add mod">
          <ac:chgData name="Annie Novacek" userId="65aff286-fe54-490e-ad4f-51eed0611e27" providerId="ADAL" clId="{D6F5A823-BBCF-41DA-B94D-8A2AA2A1656E}" dt="2024-11-25T15:49:16.739" v="6604" actId="14861"/>
          <ac:picMkLst>
            <pc:docMk/>
            <pc:sldMk cId="3221551258" sldId="283"/>
            <ac:picMk id="7" creationId="{5A3BBA36-BD36-A7D2-D50E-E9F363C833D8}"/>
          </ac:picMkLst>
        </pc:picChg>
        <pc:picChg chg="add mod">
          <ac:chgData name="Annie Novacek" userId="65aff286-fe54-490e-ad4f-51eed0611e27" providerId="ADAL" clId="{D6F5A823-BBCF-41DA-B94D-8A2AA2A1656E}" dt="2024-11-25T16:38:44.442" v="7239" actId="1440"/>
          <ac:picMkLst>
            <pc:docMk/>
            <pc:sldMk cId="3221551258" sldId="283"/>
            <ac:picMk id="4098" creationId="{3A6D508D-3B9B-9269-FEAC-EBAEB9500BFF}"/>
          </ac:picMkLst>
        </pc:picChg>
      </pc:sldChg>
      <pc:sldChg chg="modSp add del mod ord">
        <pc:chgData name="Annie Novacek" userId="65aff286-fe54-490e-ad4f-51eed0611e27" providerId="ADAL" clId="{D6F5A823-BBCF-41DA-B94D-8A2AA2A1656E}" dt="2024-11-25T16:15:09.804" v="6626" actId="47"/>
        <pc:sldMkLst>
          <pc:docMk/>
          <pc:sldMk cId="3044639208" sldId="284"/>
        </pc:sldMkLst>
      </pc:sldChg>
      <pc:sldChg chg="addSp delSp modSp add mod ord modNotesTx">
        <pc:chgData name="Annie Novacek" userId="65aff286-fe54-490e-ad4f-51eed0611e27" providerId="ADAL" clId="{D6F5A823-BBCF-41DA-B94D-8A2AA2A1656E}" dt="2024-11-26T15:21:48.302" v="19685" actId="5793"/>
        <pc:sldMkLst>
          <pc:docMk/>
          <pc:sldMk cId="1814680212" sldId="285"/>
        </pc:sldMkLst>
        <pc:spChg chg="mod">
          <ac:chgData name="Annie Novacek" userId="65aff286-fe54-490e-ad4f-51eed0611e27" providerId="ADAL" clId="{D6F5A823-BBCF-41DA-B94D-8A2AA2A1656E}" dt="2024-11-25T16:17:45.898" v="7092" actId="2710"/>
          <ac:spMkLst>
            <pc:docMk/>
            <pc:sldMk cId="1814680212" sldId="285"/>
            <ac:spMk id="3" creationId="{F284CE28-DCC6-EC3B-33C2-98D5F4150543}"/>
          </ac:spMkLst>
        </pc:spChg>
        <pc:spChg chg="add mod">
          <ac:chgData name="Annie Novacek" userId="65aff286-fe54-490e-ad4f-51eed0611e27" providerId="ADAL" clId="{D6F5A823-BBCF-41DA-B94D-8A2AA2A1656E}" dt="2024-11-25T16:24:30.961" v="7122" actId="208"/>
          <ac:spMkLst>
            <pc:docMk/>
            <pc:sldMk cId="1814680212" sldId="285"/>
            <ac:spMk id="6" creationId="{4B5B9B0D-C41B-0FB3-A327-4B746EE62293}"/>
          </ac:spMkLst>
        </pc:spChg>
        <pc:picChg chg="add mod">
          <ac:chgData name="Annie Novacek" userId="65aff286-fe54-490e-ad4f-51eed0611e27" providerId="ADAL" clId="{D6F5A823-BBCF-41DA-B94D-8A2AA2A1656E}" dt="2024-11-25T16:19:27.897" v="7097" actId="1076"/>
          <ac:picMkLst>
            <pc:docMk/>
            <pc:sldMk cId="1814680212" sldId="285"/>
            <ac:picMk id="3074" creationId="{2744FDE8-B6F5-FD66-6990-9B230C2E048E}"/>
          </ac:picMkLst>
        </pc:picChg>
        <pc:picChg chg="add mod">
          <ac:chgData name="Annie Novacek" userId="65aff286-fe54-490e-ad4f-51eed0611e27" providerId="ADAL" clId="{D6F5A823-BBCF-41DA-B94D-8A2AA2A1656E}" dt="2024-11-25T16:23:40.463" v="7121" actId="1076"/>
          <ac:picMkLst>
            <pc:docMk/>
            <pc:sldMk cId="1814680212" sldId="285"/>
            <ac:picMk id="3078" creationId="{67CB59DD-E9C0-4C2F-D391-663315643EB7}"/>
          </ac:picMkLst>
        </pc:picChg>
      </pc:sldChg>
      <pc:sldChg chg="addSp delSp modSp add mod modNotesTx">
        <pc:chgData name="Annie Novacek" userId="65aff286-fe54-490e-ad4f-51eed0611e27" providerId="ADAL" clId="{D6F5A823-BBCF-41DA-B94D-8A2AA2A1656E}" dt="2024-11-26T15:59:25.075" v="24840" actId="20577"/>
        <pc:sldMkLst>
          <pc:docMk/>
          <pc:sldMk cId="3252416910" sldId="286"/>
        </pc:sldMkLst>
        <pc:spChg chg="mod">
          <ac:chgData name="Annie Novacek" userId="65aff286-fe54-490e-ad4f-51eed0611e27" providerId="ADAL" clId="{D6F5A823-BBCF-41DA-B94D-8A2AA2A1656E}" dt="2024-11-25T16:39:21.966" v="7249"/>
          <ac:spMkLst>
            <pc:docMk/>
            <pc:sldMk cId="3252416910" sldId="286"/>
            <ac:spMk id="3" creationId="{620F929B-5178-DADD-EA77-AC9C3FB07DF0}"/>
          </ac:spMkLst>
        </pc:spChg>
        <pc:spChg chg="add mod">
          <ac:chgData name="Annie Novacek" userId="65aff286-fe54-490e-ad4f-51eed0611e27" providerId="ADAL" clId="{D6F5A823-BBCF-41DA-B94D-8A2AA2A1656E}" dt="2024-11-25T16:39:54.027" v="7254" actId="404"/>
          <ac:spMkLst>
            <pc:docMk/>
            <pc:sldMk cId="3252416910" sldId="286"/>
            <ac:spMk id="6" creationId="{406F9EAF-E5BF-5BB1-6266-070A49AF73C1}"/>
          </ac:spMkLst>
        </pc:spChg>
        <pc:picChg chg="add mod">
          <ac:chgData name="Annie Novacek" userId="65aff286-fe54-490e-ad4f-51eed0611e27" providerId="ADAL" clId="{D6F5A823-BBCF-41DA-B94D-8A2AA2A1656E}" dt="2024-11-25T16:39:47.720" v="7253" actId="1076"/>
          <ac:picMkLst>
            <pc:docMk/>
            <pc:sldMk cId="3252416910" sldId="286"/>
            <ac:picMk id="2050" creationId="{A0034664-6C96-D04B-FE65-20C77B2C1F74}"/>
          </ac:picMkLst>
        </pc:picChg>
      </pc:sldChg>
      <pc:sldChg chg="addSp delSp modSp add mod modNotesTx">
        <pc:chgData name="Annie Novacek" userId="65aff286-fe54-490e-ad4f-51eed0611e27" providerId="ADAL" clId="{D6F5A823-BBCF-41DA-B94D-8A2AA2A1656E}" dt="2024-11-26T15:54:15.321" v="24142" actId="20577"/>
        <pc:sldMkLst>
          <pc:docMk/>
          <pc:sldMk cId="766320404" sldId="287"/>
        </pc:sldMkLst>
        <pc:spChg chg="mod">
          <ac:chgData name="Annie Novacek" userId="65aff286-fe54-490e-ad4f-51eed0611e27" providerId="ADAL" clId="{D6F5A823-BBCF-41DA-B94D-8A2AA2A1656E}" dt="2024-11-25T16:41:53.548" v="7353" actId="113"/>
          <ac:spMkLst>
            <pc:docMk/>
            <pc:sldMk cId="766320404" sldId="287"/>
            <ac:spMk id="3" creationId="{43497F08-81B8-87B5-C0E1-4F73C9A35A86}"/>
          </ac:spMkLst>
        </pc:spChg>
        <pc:spChg chg="add mod">
          <ac:chgData name="Annie Novacek" userId="65aff286-fe54-490e-ad4f-51eed0611e27" providerId="ADAL" clId="{D6F5A823-BBCF-41DA-B94D-8A2AA2A1656E}" dt="2024-11-25T16:43:50.258" v="7478" actId="403"/>
          <ac:spMkLst>
            <pc:docMk/>
            <pc:sldMk cId="766320404" sldId="287"/>
            <ac:spMk id="6" creationId="{FF0D0B5A-0F1E-0335-991C-FBE6DCBC72BD}"/>
          </ac:spMkLst>
        </pc:spChg>
        <pc:graphicFrameChg chg="add mod modGraphic">
          <ac:chgData name="Annie Novacek" userId="65aff286-fe54-490e-ad4f-51eed0611e27" providerId="ADAL" clId="{D6F5A823-BBCF-41DA-B94D-8A2AA2A1656E}" dt="2024-11-25T16:44:20.103" v="7488" actId="1076"/>
          <ac:graphicFrameMkLst>
            <pc:docMk/>
            <pc:sldMk cId="766320404" sldId="287"/>
            <ac:graphicFrameMk id="8" creationId="{998B6C6F-79CF-6234-EDFA-4AE4B5E78991}"/>
          </ac:graphicFrameMkLst>
        </pc:graphicFrameChg>
        <pc:picChg chg="add mod modCrop">
          <ac:chgData name="Annie Novacek" userId="65aff286-fe54-490e-ad4f-51eed0611e27" providerId="ADAL" clId="{D6F5A823-BBCF-41DA-B94D-8A2AA2A1656E}" dt="2024-11-25T16:42:23.797" v="7359" actId="732"/>
          <ac:picMkLst>
            <pc:docMk/>
            <pc:sldMk cId="766320404" sldId="287"/>
            <ac:picMk id="7" creationId="{C32356D1-E405-CA63-6DBE-259DE1E19C92}"/>
          </ac:picMkLst>
        </pc:picChg>
      </pc:sldChg>
      <pc:sldChg chg="addSp modSp add mod modNotesTx">
        <pc:chgData name="Annie Novacek" userId="65aff286-fe54-490e-ad4f-51eed0611e27" providerId="ADAL" clId="{D6F5A823-BBCF-41DA-B94D-8A2AA2A1656E}" dt="2024-11-26T15:46:18.986" v="22252" actId="20577"/>
        <pc:sldMkLst>
          <pc:docMk/>
          <pc:sldMk cId="1447486553" sldId="288"/>
        </pc:sldMkLst>
        <pc:spChg chg="mod">
          <ac:chgData name="Annie Novacek" userId="65aff286-fe54-490e-ad4f-51eed0611e27" providerId="ADAL" clId="{D6F5A823-BBCF-41DA-B94D-8A2AA2A1656E}" dt="2024-11-25T17:02:33.160" v="8380" actId="20577"/>
          <ac:spMkLst>
            <pc:docMk/>
            <pc:sldMk cId="1447486553" sldId="288"/>
            <ac:spMk id="3" creationId="{1BECF813-12C3-DA2F-0E00-6D29A11763DD}"/>
          </ac:spMkLst>
        </pc:spChg>
        <pc:spChg chg="add mod">
          <ac:chgData name="Annie Novacek" userId="65aff286-fe54-490e-ad4f-51eed0611e27" providerId="ADAL" clId="{D6F5A823-BBCF-41DA-B94D-8A2AA2A1656E}" dt="2024-11-25T17:01:09.650" v="8321" actId="2710"/>
          <ac:spMkLst>
            <pc:docMk/>
            <pc:sldMk cId="1447486553" sldId="288"/>
            <ac:spMk id="6" creationId="{DC9837B7-4DFF-67F3-D0E8-EB955E6398F9}"/>
          </ac:spMkLst>
        </pc:spChg>
        <pc:picChg chg="add mod modCrop">
          <ac:chgData name="Annie Novacek" userId="65aff286-fe54-490e-ad4f-51eed0611e27" providerId="ADAL" clId="{D6F5A823-BBCF-41DA-B94D-8A2AA2A1656E}" dt="2024-11-25T17:02:17.487" v="8364" actId="1076"/>
          <ac:picMkLst>
            <pc:docMk/>
            <pc:sldMk cId="1447486553" sldId="288"/>
            <ac:picMk id="7" creationId="{0B5199D4-0B81-F7B9-69E4-74DA3DE7967A}"/>
          </ac:picMkLst>
        </pc:picChg>
      </pc:sldChg>
      <pc:sldChg chg="addSp modSp add mod modNotesTx">
        <pc:chgData name="Annie Novacek" userId="65aff286-fe54-490e-ad4f-51eed0611e27" providerId="ADAL" clId="{D6F5A823-BBCF-41DA-B94D-8A2AA2A1656E}" dt="2024-11-26T16:14:15.128" v="28554" actId="20577"/>
        <pc:sldMkLst>
          <pc:docMk/>
          <pc:sldMk cId="2191654724" sldId="289"/>
        </pc:sldMkLst>
        <pc:graphicFrameChg chg="add mod modGraphic">
          <ac:chgData name="Annie Novacek" userId="65aff286-fe54-490e-ad4f-51eed0611e27" providerId="ADAL" clId="{D6F5A823-BBCF-41DA-B94D-8A2AA2A1656E}" dt="2024-11-25T17:39:09.763" v="11130"/>
          <ac:graphicFrameMkLst>
            <pc:docMk/>
            <pc:sldMk cId="2191654724" sldId="289"/>
            <ac:graphicFrameMk id="3" creationId="{B171186E-AA86-BD51-4532-CB2C0DE410B3}"/>
          </ac:graphicFrameMkLst>
        </pc:graphicFrameChg>
      </pc:sldChg>
      <pc:sldChg chg="addSp delSp modSp mod modClrScheme chgLayout modNotesTx">
        <pc:chgData name="Annie Novacek" userId="65aff286-fe54-490e-ad4f-51eed0611e27" providerId="ADAL" clId="{D6F5A823-BBCF-41DA-B94D-8A2AA2A1656E}" dt="2024-12-04T14:19:07.355" v="29606" actId="20577"/>
        <pc:sldMkLst>
          <pc:docMk/>
          <pc:sldMk cId="3809003520" sldId="290"/>
        </pc:sldMkLst>
        <pc:spChg chg="add mod ord">
          <ac:chgData name="Annie Novacek" userId="65aff286-fe54-490e-ad4f-51eed0611e27" providerId="ADAL" clId="{D6F5A823-BBCF-41DA-B94D-8A2AA2A1656E}" dt="2024-12-04T14:10:59.524" v="29324" actId="20577"/>
          <ac:spMkLst>
            <pc:docMk/>
            <pc:sldMk cId="3809003520" sldId="290"/>
            <ac:spMk id="4" creationId="{576133BB-70E4-4698-B0CF-F6BE75AF0D38}"/>
          </ac:spMkLst>
        </pc:spChg>
        <pc:spChg chg="add del mod ord">
          <ac:chgData name="Annie Novacek" userId="65aff286-fe54-490e-ad4f-51eed0611e27" providerId="ADAL" clId="{D6F5A823-BBCF-41DA-B94D-8A2AA2A1656E}" dt="2024-12-04T14:13:28.945" v="29360" actId="403"/>
          <ac:spMkLst>
            <pc:docMk/>
            <pc:sldMk cId="3809003520" sldId="290"/>
            <ac:spMk id="5" creationId="{77A73195-E19B-C87D-DAEB-2891B35E1948}"/>
          </ac:spMkLst>
        </pc:spChg>
        <pc:spChg chg="add mod ord">
          <ac:chgData name="Annie Novacek" userId="65aff286-fe54-490e-ad4f-51eed0611e27" providerId="ADAL" clId="{D6F5A823-BBCF-41DA-B94D-8A2AA2A1656E}" dt="2024-12-04T14:10:45.566" v="29320" actId="700"/>
          <ac:spMkLst>
            <pc:docMk/>
            <pc:sldMk cId="3809003520" sldId="290"/>
            <ac:spMk id="6" creationId="{FA98DAD3-969D-9D8E-C665-4A65DFE879C6}"/>
          </ac:spMkLst>
        </pc:spChg>
        <pc:picChg chg="add mod">
          <ac:chgData name="Annie Novacek" userId="65aff286-fe54-490e-ad4f-51eed0611e27" providerId="ADAL" clId="{D6F5A823-BBCF-41DA-B94D-8A2AA2A1656E}" dt="2024-12-04T14:14:14.664" v="29368" actId="1076"/>
          <ac:picMkLst>
            <pc:docMk/>
            <pc:sldMk cId="3809003520" sldId="290"/>
            <ac:picMk id="8" creationId="{53413BED-A88E-8751-D455-47D5E49A87A8}"/>
          </ac:picMkLst>
        </pc:picChg>
      </pc:sldChg>
      <pc:sldMasterChg chg="modSldLayout">
        <pc:chgData name="Annie Novacek" userId="65aff286-fe54-490e-ad4f-51eed0611e27" providerId="ADAL" clId="{D6F5A823-BBCF-41DA-B94D-8A2AA2A1656E}" dt="2024-11-18T14:38:54.723" v="33" actId="27028"/>
        <pc:sldMasterMkLst>
          <pc:docMk/>
          <pc:sldMasterMk cId="1475511090" sldId="2147483672"/>
        </pc:sldMasterMkLst>
        <pc:sldLayoutChg chg="replId">
          <pc:chgData name="Annie Novacek" userId="65aff286-fe54-490e-ad4f-51eed0611e27" providerId="ADAL" clId="{D6F5A823-BBCF-41DA-B94D-8A2AA2A1656E}" dt="2024-11-18T14:38:54.723" v="33" actId="27028"/>
          <pc:sldLayoutMkLst>
            <pc:docMk/>
            <pc:sldMasterMk cId="1475511090" sldId="2147483672"/>
            <pc:sldLayoutMk cId="2342196895" sldId="2147483722"/>
          </pc:sldLayoutMkLst>
        </pc:sldLayoutChg>
        <pc:sldLayoutChg chg="replId">
          <pc:chgData name="Annie Novacek" userId="65aff286-fe54-490e-ad4f-51eed0611e27" providerId="ADAL" clId="{D6F5A823-BBCF-41DA-B94D-8A2AA2A1656E}" dt="2024-11-18T14:38:54.723" v="33" actId="27028"/>
          <pc:sldLayoutMkLst>
            <pc:docMk/>
            <pc:sldMasterMk cId="1475511090" sldId="2147483672"/>
            <pc:sldLayoutMk cId="3847841875" sldId="2147483723"/>
          </pc:sldLayoutMkLst>
        </pc:sldLayoutChg>
      </pc:sldMasterChg>
      <pc:sldMasterChg chg="add addSldLayout modSldLayout">
        <pc:chgData name="Annie Novacek" userId="65aff286-fe54-490e-ad4f-51eed0611e27" providerId="ADAL" clId="{D6F5A823-BBCF-41DA-B94D-8A2AA2A1656E}" dt="2024-11-18T14:39:24.316" v="37"/>
        <pc:sldMasterMkLst>
          <pc:docMk/>
          <pc:sldMasterMk cId="2764261304" sldId="2147483692"/>
        </pc:sldMasterMkLst>
        <pc:sldLayoutChg chg="add">
          <pc:chgData name="Annie Novacek" userId="65aff286-fe54-490e-ad4f-51eed0611e27" providerId="ADAL" clId="{D6F5A823-BBCF-41DA-B94D-8A2AA2A1656E}" dt="2024-11-18T14:38:54.723" v="33" actId="27028"/>
          <pc:sldLayoutMkLst>
            <pc:docMk/>
            <pc:sldMasterMk cId="2764261304" sldId="2147483692"/>
            <pc:sldLayoutMk cId="48195916" sldId="2147483712"/>
          </pc:sldLayoutMkLst>
        </pc:sldLayoutChg>
        <pc:sldLayoutChg chg="delSp">
          <pc:chgData name="Annie Novacek" userId="65aff286-fe54-490e-ad4f-51eed0611e27" providerId="ADAL" clId="{D6F5A823-BBCF-41DA-B94D-8A2AA2A1656E}" dt="2024-11-18T14:39:24.316" v="37"/>
          <pc:sldLayoutMkLst>
            <pc:docMk/>
            <pc:sldMasterMk cId="2764261304" sldId="2147483692"/>
            <pc:sldLayoutMk cId="863747155" sldId="2147483774"/>
          </pc:sldLayoutMkLst>
        </pc:sldLayoutChg>
        <pc:sldLayoutChg chg="delSp">
          <pc:chgData name="Annie Novacek" userId="65aff286-fe54-490e-ad4f-51eed0611e27" providerId="ADAL" clId="{D6F5A823-BBCF-41DA-B94D-8A2AA2A1656E}" dt="2024-11-18T14:39:24.316" v="37"/>
          <pc:sldLayoutMkLst>
            <pc:docMk/>
            <pc:sldMasterMk cId="2764261304" sldId="2147483692"/>
            <pc:sldLayoutMk cId="1256818726" sldId="2147483775"/>
          </pc:sldLayoutMkLst>
        </pc:sldLayoutChg>
      </pc:sldMasterChg>
      <pc:sldMasterChg chg="add addSldLayout">
        <pc:chgData name="Annie Novacek" userId="65aff286-fe54-490e-ad4f-51eed0611e27" providerId="ADAL" clId="{D6F5A823-BBCF-41DA-B94D-8A2AA2A1656E}" dt="2024-11-18T14:55:57.866" v="307" actId="27028"/>
        <pc:sldMasterMkLst>
          <pc:docMk/>
          <pc:sldMasterMk cId="578104128" sldId="2147483919"/>
        </pc:sldMasterMkLst>
        <pc:sldLayoutChg chg="add">
          <pc:chgData name="Annie Novacek" userId="65aff286-fe54-490e-ad4f-51eed0611e27" providerId="ADAL" clId="{D6F5A823-BBCF-41DA-B94D-8A2AA2A1656E}" dt="2024-11-18T14:55:57.866" v="307" actId="27028"/>
          <pc:sldLayoutMkLst>
            <pc:docMk/>
            <pc:sldMasterMk cId="578104128" sldId="2147483919"/>
            <pc:sldLayoutMk cId="4034347793" sldId="2147483938"/>
          </pc:sldLayoutMkLst>
        </pc:sldLayoutChg>
      </pc:sldMasterChg>
    </pc:docChg>
  </pc:docChgLst>
  <pc:docChgLst>
    <pc:chgData name="Annie Novacek" userId="S::annie.novacek@bonterratech.com::65aff286-fe54-490e-ad4f-51eed0611e27" providerId="AD" clId="Web-{A47CAC38-A354-2829-AC6C-E630E4CF07E9}"/>
    <pc:docChg chg="addSld modSection">
      <pc:chgData name="Annie Novacek" userId="S::annie.novacek@bonterratech.com::65aff286-fe54-490e-ad4f-51eed0611e27" providerId="AD" clId="Web-{A47CAC38-A354-2829-AC6C-E630E4CF07E9}" dt="2024-12-04T14:10:08.879" v="0"/>
      <pc:docMkLst>
        <pc:docMk/>
      </pc:docMkLst>
      <pc:sldChg chg="new">
        <pc:chgData name="Annie Novacek" userId="S::annie.novacek@bonterratech.com::65aff286-fe54-490e-ad4f-51eed0611e27" providerId="AD" clId="Web-{A47CAC38-A354-2829-AC6C-E630E4CF07E9}" dt="2024-12-04T14:10:08.879" v="0"/>
        <pc:sldMkLst>
          <pc:docMk/>
          <pc:sldMk cId="3809003520" sldId="290"/>
        </pc:sldMkLst>
      </pc:sld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diagrams/_rels/data3.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diagrams/_rels/drawing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diagrams/_rels/drawing3.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80CE9D-7682-4CB7-83ED-9FC2C0883293}"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1D2ADEF-F0D0-4F7D-BD75-8D4F041304B4}">
      <dgm:prSet phldrT="[Text]"/>
      <dgm:spPr/>
      <dgm:t>
        <a:bodyPr/>
        <a:lstStyle/>
        <a:p>
          <a:r>
            <a:rPr lang="en-US" dirty="0"/>
            <a:t>Overview &amp; Expectations</a:t>
          </a:r>
        </a:p>
      </dgm:t>
    </dgm:pt>
    <dgm:pt modelId="{9A3CC1D8-0F45-4602-8FEB-4D07CE7627C0}" type="parTrans" cxnId="{61F89CE3-51DA-4228-8D53-ABC1687700F0}">
      <dgm:prSet/>
      <dgm:spPr/>
      <dgm:t>
        <a:bodyPr/>
        <a:lstStyle/>
        <a:p>
          <a:endParaRPr lang="en-US"/>
        </a:p>
      </dgm:t>
    </dgm:pt>
    <dgm:pt modelId="{FE75DB81-6FBF-48CE-85EE-13E8A36BDAFE}" type="sibTrans" cxnId="{61F89CE3-51DA-4228-8D53-ABC1687700F0}">
      <dgm:prSet/>
      <dgm:spPr/>
      <dgm:t>
        <a:bodyPr/>
        <a:lstStyle/>
        <a:p>
          <a:endParaRPr lang="en-US"/>
        </a:p>
      </dgm:t>
    </dgm:pt>
    <dgm:pt modelId="{B7DB9847-F703-42CD-867B-61B120AC6A60}">
      <dgm:prSet phldrT="[Text]"/>
      <dgm:spPr/>
      <dgm:t>
        <a:bodyPr/>
        <a:lstStyle/>
        <a:p>
          <a:r>
            <a:rPr lang="en-US" dirty="0"/>
            <a:t>Competency Categories</a:t>
          </a:r>
        </a:p>
      </dgm:t>
    </dgm:pt>
    <dgm:pt modelId="{C39C2782-1351-40BF-AE6D-83FE28095609}" type="parTrans" cxnId="{DE2FE596-EDDA-4A1E-AEED-C72DE0E854B0}">
      <dgm:prSet/>
      <dgm:spPr/>
      <dgm:t>
        <a:bodyPr/>
        <a:lstStyle/>
        <a:p>
          <a:endParaRPr lang="en-US"/>
        </a:p>
      </dgm:t>
    </dgm:pt>
    <dgm:pt modelId="{1D3CD686-BE2C-4225-9F3D-FD9EFD22BF1A}" type="sibTrans" cxnId="{DE2FE596-EDDA-4A1E-AEED-C72DE0E854B0}">
      <dgm:prSet/>
      <dgm:spPr/>
      <dgm:t>
        <a:bodyPr/>
        <a:lstStyle/>
        <a:p>
          <a:endParaRPr lang="en-US"/>
        </a:p>
      </dgm:t>
    </dgm:pt>
    <dgm:pt modelId="{C86C83E2-C634-46BE-B358-D2E9F1450268}">
      <dgm:prSet phldrT="[Text]"/>
      <dgm:spPr/>
      <dgm:t>
        <a:bodyPr/>
        <a:lstStyle/>
        <a:p>
          <a:r>
            <a:rPr lang="en-US" dirty="0"/>
            <a:t>Open Q&amp;A</a:t>
          </a:r>
        </a:p>
      </dgm:t>
    </dgm:pt>
    <dgm:pt modelId="{B642BA02-CD80-4D81-9DDC-6ECE147D5120}" type="parTrans" cxnId="{6C999FBE-323F-483E-B905-C5D22DF5A2D4}">
      <dgm:prSet/>
      <dgm:spPr/>
      <dgm:t>
        <a:bodyPr/>
        <a:lstStyle/>
        <a:p>
          <a:endParaRPr lang="en-US"/>
        </a:p>
      </dgm:t>
    </dgm:pt>
    <dgm:pt modelId="{4E2E1AEF-F896-4951-9A75-EB22248F124E}" type="sibTrans" cxnId="{6C999FBE-323F-483E-B905-C5D22DF5A2D4}">
      <dgm:prSet/>
      <dgm:spPr/>
      <dgm:t>
        <a:bodyPr/>
        <a:lstStyle/>
        <a:p>
          <a:endParaRPr lang="en-US"/>
        </a:p>
      </dgm:t>
    </dgm:pt>
    <dgm:pt modelId="{62097CA4-3738-4DFB-8B90-5925EBC02E7D}">
      <dgm:prSet phldrT="[Text]"/>
      <dgm:spPr/>
      <dgm:t>
        <a:bodyPr/>
        <a:lstStyle/>
        <a:p>
          <a:r>
            <a:rPr lang="en-US" dirty="0"/>
            <a:t>Recommended Training</a:t>
          </a:r>
        </a:p>
      </dgm:t>
    </dgm:pt>
    <dgm:pt modelId="{FADE87C4-6D96-4A4A-BD16-D0BDD2206197}" type="parTrans" cxnId="{69FB3A0A-38A7-4E88-99FD-C7706A4B17B8}">
      <dgm:prSet/>
      <dgm:spPr/>
      <dgm:t>
        <a:bodyPr/>
        <a:lstStyle/>
        <a:p>
          <a:endParaRPr lang="en-US"/>
        </a:p>
      </dgm:t>
    </dgm:pt>
    <dgm:pt modelId="{8AAE40B9-78CC-452E-9815-610B401CA7C1}" type="sibTrans" cxnId="{69FB3A0A-38A7-4E88-99FD-C7706A4B17B8}">
      <dgm:prSet/>
      <dgm:spPr/>
      <dgm:t>
        <a:bodyPr/>
        <a:lstStyle/>
        <a:p>
          <a:endParaRPr lang="en-US"/>
        </a:p>
      </dgm:t>
    </dgm:pt>
    <dgm:pt modelId="{81AA2D5C-24C6-445F-B946-37B6CEF0FE77}" type="pres">
      <dgm:prSet presAssocID="{4580CE9D-7682-4CB7-83ED-9FC2C0883293}" presName="linear" presStyleCnt="0">
        <dgm:presLayoutVars>
          <dgm:dir/>
          <dgm:animLvl val="lvl"/>
          <dgm:resizeHandles val="exact"/>
        </dgm:presLayoutVars>
      </dgm:prSet>
      <dgm:spPr/>
    </dgm:pt>
    <dgm:pt modelId="{F2B33C66-63C0-4B1D-A799-CBEFDACB850F}" type="pres">
      <dgm:prSet presAssocID="{C1D2ADEF-F0D0-4F7D-BD75-8D4F041304B4}" presName="parentLin" presStyleCnt="0"/>
      <dgm:spPr/>
    </dgm:pt>
    <dgm:pt modelId="{9A293C8D-7D03-41A3-AC3D-F0A59C060B96}" type="pres">
      <dgm:prSet presAssocID="{C1D2ADEF-F0D0-4F7D-BD75-8D4F041304B4}" presName="parentLeftMargin" presStyleLbl="node1" presStyleIdx="0" presStyleCnt="4"/>
      <dgm:spPr/>
    </dgm:pt>
    <dgm:pt modelId="{5ADC3EE2-14A4-4BEB-B5AB-492CCEEC2776}" type="pres">
      <dgm:prSet presAssocID="{C1D2ADEF-F0D0-4F7D-BD75-8D4F041304B4}" presName="parentText" presStyleLbl="node1" presStyleIdx="0" presStyleCnt="4">
        <dgm:presLayoutVars>
          <dgm:chMax val="0"/>
          <dgm:bulletEnabled val="1"/>
        </dgm:presLayoutVars>
      </dgm:prSet>
      <dgm:spPr/>
    </dgm:pt>
    <dgm:pt modelId="{8791B0FB-BD27-4FA6-9988-CF9EB6CC783A}" type="pres">
      <dgm:prSet presAssocID="{C1D2ADEF-F0D0-4F7D-BD75-8D4F041304B4}" presName="negativeSpace" presStyleCnt="0"/>
      <dgm:spPr/>
    </dgm:pt>
    <dgm:pt modelId="{1612BF13-16F0-41D2-8066-B2941E35D8F3}" type="pres">
      <dgm:prSet presAssocID="{C1D2ADEF-F0D0-4F7D-BD75-8D4F041304B4}" presName="childText" presStyleLbl="conFgAcc1" presStyleIdx="0" presStyleCnt="4">
        <dgm:presLayoutVars>
          <dgm:bulletEnabled val="1"/>
        </dgm:presLayoutVars>
      </dgm:prSet>
      <dgm:spPr/>
    </dgm:pt>
    <dgm:pt modelId="{B2F745B5-1DE4-4E51-92B8-8484072C670C}" type="pres">
      <dgm:prSet presAssocID="{FE75DB81-6FBF-48CE-85EE-13E8A36BDAFE}" presName="spaceBetweenRectangles" presStyleCnt="0"/>
      <dgm:spPr/>
    </dgm:pt>
    <dgm:pt modelId="{D24ECFF8-E6AF-4A03-8B20-F310C03C0255}" type="pres">
      <dgm:prSet presAssocID="{B7DB9847-F703-42CD-867B-61B120AC6A60}" presName="parentLin" presStyleCnt="0"/>
      <dgm:spPr/>
    </dgm:pt>
    <dgm:pt modelId="{524459D9-A0C1-4581-8D49-215CC6D20F0A}" type="pres">
      <dgm:prSet presAssocID="{B7DB9847-F703-42CD-867B-61B120AC6A60}" presName="parentLeftMargin" presStyleLbl="node1" presStyleIdx="0" presStyleCnt="4"/>
      <dgm:spPr/>
    </dgm:pt>
    <dgm:pt modelId="{B2204F80-81A1-4425-A1E2-C0BB3ABA7DA6}" type="pres">
      <dgm:prSet presAssocID="{B7DB9847-F703-42CD-867B-61B120AC6A60}" presName="parentText" presStyleLbl="node1" presStyleIdx="1" presStyleCnt="4">
        <dgm:presLayoutVars>
          <dgm:chMax val="0"/>
          <dgm:bulletEnabled val="1"/>
        </dgm:presLayoutVars>
      </dgm:prSet>
      <dgm:spPr/>
    </dgm:pt>
    <dgm:pt modelId="{243A0BA1-F209-4209-A578-9ECD4D931A5D}" type="pres">
      <dgm:prSet presAssocID="{B7DB9847-F703-42CD-867B-61B120AC6A60}" presName="negativeSpace" presStyleCnt="0"/>
      <dgm:spPr/>
    </dgm:pt>
    <dgm:pt modelId="{9C98F2D5-4587-413F-A232-C9F565BC0537}" type="pres">
      <dgm:prSet presAssocID="{B7DB9847-F703-42CD-867B-61B120AC6A60}" presName="childText" presStyleLbl="conFgAcc1" presStyleIdx="1" presStyleCnt="4">
        <dgm:presLayoutVars>
          <dgm:bulletEnabled val="1"/>
        </dgm:presLayoutVars>
      </dgm:prSet>
      <dgm:spPr/>
    </dgm:pt>
    <dgm:pt modelId="{B183C645-5FEC-4C39-A526-7FD9A4512836}" type="pres">
      <dgm:prSet presAssocID="{1D3CD686-BE2C-4225-9F3D-FD9EFD22BF1A}" presName="spaceBetweenRectangles" presStyleCnt="0"/>
      <dgm:spPr/>
    </dgm:pt>
    <dgm:pt modelId="{77D448D8-8B19-4E30-AB06-B2DEEF5C794C}" type="pres">
      <dgm:prSet presAssocID="{62097CA4-3738-4DFB-8B90-5925EBC02E7D}" presName="parentLin" presStyleCnt="0"/>
      <dgm:spPr/>
    </dgm:pt>
    <dgm:pt modelId="{A36442A2-4293-48E4-8696-AE3D5D40A4C5}" type="pres">
      <dgm:prSet presAssocID="{62097CA4-3738-4DFB-8B90-5925EBC02E7D}" presName="parentLeftMargin" presStyleLbl="node1" presStyleIdx="1" presStyleCnt="4"/>
      <dgm:spPr/>
    </dgm:pt>
    <dgm:pt modelId="{6BDF151A-8A2E-4875-A1F7-7605220DD0FB}" type="pres">
      <dgm:prSet presAssocID="{62097CA4-3738-4DFB-8B90-5925EBC02E7D}" presName="parentText" presStyleLbl="node1" presStyleIdx="2" presStyleCnt="4">
        <dgm:presLayoutVars>
          <dgm:chMax val="0"/>
          <dgm:bulletEnabled val="1"/>
        </dgm:presLayoutVars>
      </dgm:prSet>
      <dgm:spPr/>
    </dgm:pt>
    <dgm:pt modelId="{C03679C8-E265-4022-A601-2CEC5C8D82E4}" type="pres">
      <dgm:prSet presAssocID="{62097CA4-3738-4DFB-8B90-5925EBC02E7D}" presName="negativeSpace" presStyleCnt="0"/>
      <dgm:spPr/>
    </dgm:pt>
    <dgm:pt modelId="{30F0ECBB-DEF6-4E08-BA5B-852793854910}" type="pres">
      <dgm:prSet presAssocID="{62097CA4-3738-4DFB-8B90-5925EBC02E7D}" presName="childText" presStyleLbl="conFgAcc1" presStyleIdx="2" presStyleCnt="4">
        <dgm:presLayoutVars>
          <dgm:bulletEnabled val="1"/>
        </dgm:presLayoutVars>
      </dgm:prSet>
      <dgm:spPr/>
    </dgm:pt>
    <dgm:pt modelId="{691230B1-36BE-4A2C-BA07-1AA1C06C27C9}" type="pres">
      <dgm:prSet presAssocID="{8AAE40B9-78CC-452E-9815-610B401CA7C1}" presName="spaceBetweenRectangles" presStyleCnt="0"/>
      <dgm:spPr/>
    </dgm:pt>
    <dgm:pt modelId="{7ED280F2-CC14-4D1D-B567-F6FEE5B3BFF9}" type="pres">
      <dgm:prSet presAssocID="{C86C83E2-C634-46BE-B358-D2E9F1450268}" presName="parentLin" presStyleCnt="0"/>
      <dgm:spPr/>
    </dgm:pt>
    <dgm:pt modelId="{A6226E24-4975-4D31-A6DF-261C3CCC0889}" type="pres">
      <dgm:prSet presAssocID="{C86C83E2-C634-46BE-B358-D2E9F1450268}" presName="parentLeftMargin" presStyleLbl="node1" presStyleIdx="2" presStyleCnt="4"/>
      <dgm:spPr/>
    </dgm:pt>
    <dgm:pt modelId="{E3252EE4-F9CE-41FE-BF21-F4D94F0B5EC0}" type="pres">
      <dgm:prSet presAssocID="{C86C83E2-C634-46BE-B358-D2E9F1450268}" presName="parentText" presStyleLbl="node1" presStyleIdx="3" presStyleCnt="4">
        <dgm:presLayoutVars>
          <dgm:chMax val="0"/>
          <dgm:bulletEnabled val="1"/>
        </dgm:presLayoutVars>
      </dgm:prSet>
      <dgm:spPr/>
    </dgm:pt>
    <dgm:pt modelId="{2F0E6910-AFDC-4565-9C25-EB26A3F295A6}" type="pres">
      <dgm:prSet presAssocID="{C86C83E2-C634-46BE-B358-D2E9F1450268}" presName="negativeSpace" presStyleCnt="0"/>
      <dgm:spPr/>
    </dgm:pt>
    <dgm:pt modelId="{54C88D0C-DB2F-45A0-95C8-7F1D3428D333}" type="pres">
      <dgm:prSet presAssocID="{C86C83E2-C634-46BE-B358-D2E9F1450268}" presName="childText" presStyleLbl="conFgAcc1" presStyleIdx="3" presStyleCnt="4">
        <dgm:presLayoutVars>
          <dgm:bulletEnabled val="1"/>
        </dgm:presLayoutVars>
      </dgm:prSet>
      <dgm:spPr/>
    </dgm:pt>
  </dgm:ptLst>
  <dgm:cxnLst>
    <dgm:cxn modelId="{69FB3A0A-38A7-4E88-99FD-C7706A4B17B8}" srcId="{4580CE9D-7682-4CB7-83ED-9FC2C0883293}" destId="{62097CA4-3738-4DFB-8B90-5925EBC02E7D}" srcOrd="2" destOrd="0" parTransId="{FADE87C4-6D96-4A4A-BD16-D0BDD2206197}" sibTransId="{8AAE40B9-78CC-452E-9815-610B401CA7C1}"/>
    <dgm:cxn modelId="{606EEC14-F374-4378-8C5D-9D94F0AFB7A7}" type="presOf" srcId="{C1D2ADEF-F0D0-4F7D-BD75-8D4F041304B4}" destId="{9A293C8D-7D03-41A3-AC3D-F0A59C060B96}" srcOrd="0" destOrd="0" presId="urn:microsoft.com/office/officeart/2005/8/layout/list1"/>
    <dgm:cxn modelId="{1941DD2E-73B8-4400-B727-14A3C365FC80}" type="presOf" srcId="{62097CA4-3738-4DFB-8B90-5925EBC02E7D}" destId="{6BDF151A-8A2E-4875-A1F7-7605220DD0FB}" srcOrd="1" destOrd="0" presId="urn:microsoft.com/office/officeart/2005/8/layout/list1"/>
    <dgm:cxn modelId="{BF33D147-5E22-4FAA-993E-E3B8C6304C01}" type="presOf" srcId="{B7DB9847-F703-42CD-867B-61B120AC6A60}" destId="{524459D9-A0C1-4581-8D49-215CC6D20F0A}" srcOrd="0" destOrd="0" presId="urn:microsoft.com/office/officeart/2005/8/layout/list1"/>
    <dgm:cxn modelId="{38607068-D194-4D61-A615-E9839C8F58BA}" type="presOf" srcId="{4580CE9D-7682-4CB7-83ED-9FC2C0883293}" destId="{81AA2D5C-24C6-445F-B946-37B6CEF0FE77}" srcOrd="0" destOrd="0" presId="urn:microsoft.com/office/officeart/2005/8/layout/list1"/>
    <dgm:cxn modelId="{DE2FE596-EDDA-4A1E-AEED-C72DE0E854B0}" srcId="{4580CE9D-7682-4CB7-83ED-9FC2C0883293}" destId="{B7DB9847-F703-42CD-867B-61B120AC6A60}" srcOrd="1" destOrd="0" parTransId="{C39C2782-1351-40BF-AE6D-83FE28095609}" sibTransId="{1D3CD686-BE2C-4225-9F3D-FD9EFD22BF1A}"/>
    <dgm:cxn modelId="{38D09CB3-0D19-47AE-AF03-B85FE689CCB6}" type="presOf" srcId="{C1D2ADEF-F0D0-4F7D-BD75-8D4F041304B4}" destId="{5ADC3EE2-14A4-4BEB-B5AB-492CCEEC2776}" srcOrd="1" destOrd="0" presId="urn:microsoft.com/office/officeart/2005/8/layout/list1"/>
    <dgm:cxn modelId="{A81680B8-B0BA-41FB-94C0-23474AD2D299}" type="presOf" srcId="{C86C83E2-C634-46BE-B358-D2E9F1450268}" destId="{A6226E24-4975-4D31-A6DF-261C3CCC0889}" srcOrd="0" destOrd="0" presId="urn:microsoft.com/office/officeart/2005/8/layout/list1"/>
    <dgm:cxn modelId="{6C999FBE-323F-483E-B905-C5D22DF5A2D4}" srcId="{4580CE9D-7682-4CB7-83ED-9FC2C0883293}" destId="{C86C83E2-C634-46BE-B358-D2E9F1450268}" srcOrd="3" destOrd="0" parTransId="{B642BA02-CD80-4D81-9DDC-6ECE147D5120}" sibTransId="{4E2E1AEF-F896-4951-9A75-EB22248F124E}"/>
    <dgm:cxn modelId="{61F89CE3-51DA-4228-8D53-ABC1687700F0}" srcId="{4580CE9D-7682-4CB7-83ED-9FC2C0883293}" destId="{C1D2ADEF-F0D0-4F7D-BD75-8D4F041304B4}" srcOrd="0" destOrd="0" parTransId="{9A3CC1D8-0F45-4602-8FEB-4D07CE7627C0}" sibTransId="{FE75DB81-6FBF-48CE-85EE-13E8A36BDAFE}"/>
    <dgm:cxn modelId="{CE8D28E7-718E-43AC-A3D2-2442CD4A6BE1}" type="presOf" srcId="{C86C83E2-C634-46BE-B358-D2E9F1450268}" destId="{E3252EE4-F9CE-41FE-BF21-F4D94F0B5EC0}" srcOrd="1" destOrd="0" presId="urn:microsoft.com/office/officeart/2005/8/layout/list1"/>
    <dgm:cxn modelId="{E3C50CF3-A313-4906-9D8E-E623851EE58F}" type="presOf" srcId="{62097CA4-3738-4DFB-8B90-5925EBC02E7D}" destId="{A36442A2-4293-48E4-8696-AE3D5D40A4C5}" srcOrd="0" destOrd="0" presId="urn:microsoft.com/office/officeart/2005/8/layout/list1"/>
    <dgm:cxn modelId="{260593FF-2448-4A45-9099-0B1C6C8DFF6B}" type="presOf" srcId="{B7DB9847-F703-42CD-867B-61B120AC6A60}" destId="{B2204F80-81A1-4425-A1E2-C0BB3ABA7DA6}" srcOrd="1" destOrd="0" presId="urn:microsoft.com/office/officeart/2005/8/layout/list1"/>
    <dgm:cxn modelId="{819DE883-0701-431F-980F-0901087B5D84}" type="presParOf" srcId="{81AA2D5C-24C6-445F-B946-37B6CEF0FE77}" destId="{F2B33C66-63C0-4B1D-A799-CBEFDACB850F}" srcOrd="0" destOrd="0" presId="urn:microsoft.com/office/officeart/2005/8/layout/list1"/>
    <dgm:cxn modelId="{0F50586B-F04A-45DF-8A23-2D074920603B}" type="presParOf" srcId="{F2B33C66-63C0-4B1D-A799-CBEFDACB850F}" destId="{9A293C8D-7D03-41A3-AC3D-F0A59C060B96}" srcOrd="0" destOrd="0" presId="urn:microsoft.com/office/officeart/2005/8/layout/list1"/>
    <dgm:cxn modelId="{22AE6C00-6A51-4152-9620-D22F238275D5}" type="presParOf" srcId="{F2B33C66-63C0-4B1D-A799-CBEFDACB850F}" destId="{5ADC3EE2-14A4-4BEB-B5AB-492CCEEC2776}" srcOrd="1" destOrd="0" presId="urn:microsoft.com/office/officeart/2005/8/layout/list1"/>
    <dgm:cxn modelId="{4897126C-8FF4-491D-AEA0-8DC05958EAC8}" type="presParOf" srcId="{81AA2D5C-24C6-445F-B946-37B6CEF0FE77}" destId="{8791B0FB-BD27-4FA6-9988-CF9EB6CC783A}" srcOrd="1" destOrd="0" presId="urn:microsoft.com/office/officeart/2005/8/layout/list1"/>
    <dgm:cxn modelId="{432691D2-A698-42D5-8273-2820F4DB354A}" type="presParOf" srcId="{81AA2D5C-24C6-445F-B946-37B6CEF0FE77}" destId="{1612BF13-16F0-41D2-8066-B2941E35D8F3}" srcOrd="2" destOrd="0" presId="urn:microsoft.com/office/officeart/2005/8/layout/list1"/>
    <dgm:cxn modelId="{CD827817-0C7F-4500-89A9-5AD8267E978A}" type="presParOf" srcId="{81AA2D5C-24C6-445F-B946-37B6CEF0FE77}" destId="{B2F745B5-1DE4-4E51-92B8-8484072C670C}" srcOrd="3" destOrd="0" presId="urn:microsoft.com/office/officeart/2005/8/layout/list1"/>
    <dgm:cxn modelId="{3304F5C5-9119-4C7A-B264-97E3CF61E485}" type="presParOf" srcId="{81AA2D5C-24C6-445F-B946-37B6CEF0FE77}" destId="{D24ECFF8-E6AF-4A03-8B20-F310C03C0255}" srcOrd="4" destOrd="0" presId="urn:microsoft.com/office/officeart/2005/8/layout/list1"/>
    <dgm:cxn modelId="{FD9B93D7-3D61-4E5C-9284-E422170F8ECB}" type="presParOf" srcId="{D24ECFF8-E6AF-4A03-8B20-F310C03C0255}" destId="{524459D9-A0C1-4581-8D49-215CC6D20F0A}" srcOrd="0" destOrd="0" presId="urn:microsoft.com/office/officeart/2005/8/layout/list1"/>
    <dgm:cxn modelId="{8FEFDBA3-8293-4C43-BE55-70211729E00B}" type="presParOf" srcId="{D24ECFF8-E6AF-4A03-8B20-F310C03C0255}" destId="{B2204F80-81A1-4425-A1E2-C0BB3ABA7DA6}" srcOrd="1" destOrd="0" presId="urn:microsoft.com/office/officeart/2005/8/layout/list1"/>
    <dgm:cxn modelId="{DA3D5E56-C765-4750-88DB-CDE457F3EA2C}" type="presParOf" srcId="{81AA2D5C-24C6-445F-B946-37B6CEF0FE77}" destId="{243A0BA1-F209-4209-A578-9ECD4D931A5D}" srcOrd="5" destOrd="0" presId="urn:microsoft.com/office/officeart/2005/8/layout/list1"/>
    <dgm:cxn modelId="{EEF607BE-D6F9-44BC-B152-806DDEAB7393}" type="presParOf" srcId="{81AA2D5C-24C6-445F-B946-37B6CEF0FE77}" destId="{9C98F2D5-4587-413F-A232-C9F565BC0537}" srcOrd="6" destOrd="0" presId="urn:microsoft.com/office/officeart/2005/8/layout/list1"/>
    <dgm:cxn modelId="{19BF6EB7-5D34-488C-AB9F-3D57C5A84E59}" type="presParOf" srcId="{81AA2D5C-24C6-445F-B946-37B6CEF0FE77}" destId="{B183C645-5FEC-4C39-A526-7FD9A4512836}" srcOrd="7" destOrd="0" presId="urn:microsoft.com/office/officeart/2005/8/layout/list1"/>
    <dgm:cxn modelId="{42A479E5-DA7C-429C-959C-8ACF2592B6B1}" type="presParOf" srcId="{81AA2D5C-24C6-445F-B946-37B6CEF0FE77}" destId="{77D448D8-8B19-4E30-AB06-B2DEEF5C794C}" srcOrd="8" destOrd="0" presId="urn:microsoft.com/office/officeart/2005/8/layout/list1"/>
    <dgm:cxn modelId="{C3BB87BD-71D5-4137-8EB0-5E1983FE6951}" type="presParOf" srcId="{77D448D8-8B19-4E30-AB06-B2DEEF5C794C}" destId="{A36442A2-4293-48E4-8696-AE3D5D40A4C5}" srcOrd="0" destOrd="0" presId="urn:microsoft.com/office/officeart/2005/8/layout/list1"/>
    <dgm:cxn modelId="{F68BD977-506E-491D-B350-381B02223C99}" type="presParOf" srcId="{77D448D8-8B19-4E30-AB06-B2DEEF5C794C}" destId="{6BDF151A-8A2E-4875-A1F7-7605220DD0FB}" srcOrd="1" destOrd="0" presId="urn:microsoft.com/office/officeart/2005/8/layout/list1"/>
    <dgm:cxn modelId="{EB5A565C-CE32-4831-8019-F8250D91520D}" type="presParOf" srcId="{81AA2D5C-24C6-445F-B946-37B6CEF0FE77}" destId="{C03679C8-E265-4022-A601-2CEC5C8D82E4}" srcOrd="9" destOrd="0" presId="urn:microsoft.com/office/officeart/2005/8/layout/list1"/>
    <dgm:cxn modelId="{5A6B4501-98A3-47FF-9438-507CBFBDA1F1}" type="presParOf" srcId="{81AA2D5C-24C6-445F-B946-37B6CEF0FE77}" destId="{30F0ECBB-DEF6-4E08-BA5B-852793854910}" srcOrd="10" destOrd="0" presId="urn:microsoft.com/office/officeart/2005/8/layout/list1"/>
    <dgm:cxn modelId="{083F8D39-6EDE-4787-9947-E5D6E12623B7}" type="presParOf" srcId="{81AA2D5C-24C6-445F-B946-37B6CEF0FE77}" destId="{691230B1-36BE-4A2C-BA07-1AA1C06C27C9}" srcOrd="11" destOrd="0" presId="urn:microsoft.com/office/officeart/2005/8/layout/list1"/>
    <dgm:cxn modelId="{0A1EE15A-855E-4FC5-BA58-DB66B2AE49CA}" type="presParOf" srcId="{81AA2D5C-24C6-445F-B946-37B6CEF0FE77}" destId="{7ED280F2-CC14-4D1D-B567-F6FEE5B3BFF9}" srcOrd="12" destOrd="0" presId="urn:microsoft.com/office/officeart/2005/8/layout/list1"/>
    <dgm:cxn modelId="{144F52CF-408B-4D9B-8620-82177EFF3CB5}" type="presParOf" srcId="{7ED280F2-CC14-4D1D-B567-F6FEE5B3BFF9}" destId="{A6226E24-4975-4D31-A6DF-261C3CCC0889}" srcOrd="0" destOrd="0" presId="urn:microsoft.com/office/officeart/2005/8/layout/list1"/>
    <dgm:cxn modelId="{E3497449-D134-44E9-8D20-A36E983C1D5A}" type="presParOf" srcId="{7ED280F2-CC14-4D1D-B567-F6FEE5B3BFF9}" destId="{E3252EE4-F9CE-41FE-BF21-F4D94F0B5EC0}" srcOrd="1" destOrd="0" presId="urn:microsoft.com/office/officeart/2005/8/layout/list1"/>
    <dgm:cxn modelId="{25CE683F-A6D0-41BA-A44E-64AC89EC3C10}" type="presParOf" srcId="{81AA2D5C-24C6-445F-B946-37B6CEF0FE77}" destId="{2F0E6910-AFDC-4565-9C25-EB26A3F295A6}" srcOrd="13" destOrd="0" presId="urn:microsoft.com/office/officeart/2005/8/layout/list1"/>
    <dgm:cxn modelId="{556C5D6F-BF8D-47C5-9255-4DA8DC3195FE}" type="presParOf" srcId="{81AA2D5C-24C6-445F-B946-37B6CEF0FE77}" destId="{54C88D0C-DB2F-45A0-95C8-7F1D3428D333}"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57CEC07-E8CC-42A1-A044-0316D73E18D1}" type="doc">
      <dgm:prSet loTypeId="urn:microsoft.com/office/officeart/2005/8/layout/hList2" loCatId="list" qsTypeId="urn:microsoft.com/office/officeart/2005/8/quickstyle/simple1" qsCatId="simple" csTypeId="urn:microsoft.com/office/officeart/2005/8/colors/colorful1" csCatId="colorful" phldr="1"/>
      <dgm:spPr/>
      <dgm:t>
        <a:bodyPr/>
        <a:lstStyle/>
        <a:p>
          <a:endParaRPr lang="en-US"/>
        </a:p>
      </dgm:t>
    </dgm:pt>
    <dgm:pt modelId="{4F84EBD6-2847-4AFF-AC66-0777910C6781}">
      <dgm:prSet phldrT="[Text]" custT="1"/>
      <dgm:spPr/>
      <dgm:t>
        <a:bodyPr/>
        <a:lstStyle/>
        <a:p>
          <a:r>
            <a:rPr lang="en-US" sz="1800" dirty="0"/>
            <a:t>Access</a:t>
          </a:r>
        </a:p>
      </dgm:t>
    </dgm:pt>
    <dgm:pt modelId="{F198C93E-8C95-435B-912F-770F74A9AC64}" type="parTrans" cxnId="{5A1B3CD0-454D-436D-869B-D62C32376B92}">
      <dgm:prSet/>
      <dgm:spPr/>
      <dgm:t>
        <a:bodyPr/>
        <a:lstStyle/>
        <a:p>
          <a:endParaRPr lang="en-US"/>
        </a:p>
      </dgm:t>
    </dgm:pt>
    <dgm:pt modelId="{33D93160-AB3E-47BE-8614-261A73315F6B}" type="sibTrans" cxnId="{5A1B3CD0-454D-436D-869B-D62C32376B92}">
      <dgm:prSet/>
      <dgm:spPr/>
      <dgm:t>
        <a:bodyPr/>
        <a:lstStyle/>
        <a:p>
          <a:endParaRPr lang="en-US"/>
        </a:p>
      </dgm:t>
    </dgm:pt>
    <dgm:pt modelId="{50DD8D44-F5C9-4164-978F-AC1AC2DABAAF}">
      <dgm:prSet phldrT="[Text]" custT="1"/>
      <dgm:spPr/>
      <dgm:t>
        <a:bodyPr/>
        <a:lstStyle/>
        <a:p>
          <a:r>
            <a:rPr lang="en-US" sz="1800" dirty="0"/>
            <a:t>Questions</a:t>
          </a:r>
        </a:p>
      </dgm:t>
    </dgm:pt>
    <dgm:pt modelId="{D629DFBD-E1D0-41D1-BD84-E989E98BD29F}" type="parTrans" cxnId="{2585814C-E74A-4865-BE5F-CD0998830DF6}">
      <dgm:prSet/>
      <dgm:spPr/>
      <dgm:t>
        <a:bodyPr/>
        <a:lstStyle/>
        <a:p>
          <a:endParaRPr lang="en-US"/>
        </a:p>
      </dgm:t>
    </dgm:pt>
    <dgm:pt modelId="{7186F811-CE5D-413F-9EB1-E336EB652BA4}" type="sibTrans" cxnId="{2585814C-E74A-4865-BE5F-CD0998830DF6}">
      <dgm:prSet/>
      <dgm:spPr/>
      <dgm:t>
        <a:bodyPr/>
        <a:lstStyle/>
        <a:p>
          <a:endParaRPr lang="en-US"/>
        </a:p>
      </dgm:t>
    </dgm:pt>
    <dgm:pt modelId="{24733612-86A2-411A-8681-A696EAB55426}">
      <dgm:prSet phldrT="[Text]" custT="1"/>
      <dgm:spPr/>
      <dgm:t>
        <a:bodyPr/>
        <a:lstStyle/>
        <a:p>
          <a:r>
            <a:rPr lang="en-US" sz="1800" dirty="0"/>
            <a:t>Reference</a:t>
          </a:r>
        </a:p>
      </dgm:t>
    </dgm:pt>
    <dgm:pt modelId="{A057E3ED-C9EE-4A48-802F-8FC784D9AAC1}" type="parTrans" cxnId="{298A2387-3067-412E-9B1C-A789934AFF75}">
      <dgm:prSet/>
      <dgm:spPr/>
      <dgm:t>
        <a:bodyPr/>
        <a:lstStyle/>
        <a:p>
          <a:endParaRPr lang="en-US"/>
        </a:p>
      </dgm:t>
    </dgm:pt>
    <dgm:pt modelId="{96294A06-272F-44E0-9A27-1ABFEB2FEF31}" type="sibTrans" cxnId="{298A2387-3067-412E-9B1C-A789934AFF75}">
      <dgm:prSet/>
      <dgm:spPr/>
      <dgm:t>
        <a:bodyPr/>
        <a:lstStyle/>
        <a:p>
          <a:endParaRPr lang="en-US"/>
        </a:p>
      </dgm:t>
    </dgm:pt>
    <dgm:pt modelId="{589DADCA-8D61-4487-9B8E-1D5E39519E19}">
      <dgm:prSet phldrT="[Text]" custT="1"/>
      <dgm:spPr/>
      <dgm:t>
        <a:bodyPr/>
        <a:lstStyle/>
        <a:p>
          <a:r>
            <a:rPr lang="en-US" sz="1800" dirty="0"/>
            <a:t>Scoring</a:t>
          </a:r>
        </a:p>
      </dgm:t>
    </dgm:pt>
    <dgm:pt modelId="{9897F6F5-4262-4D16-A327-52BF0ADA10AE}" type="parTrans" cxnId="{735CE41F-A0AD-46FA-B173-BB6441BBE56F}">
      <dgm:prSet/>
      <dgm:spPr/>
      <dgm:t>
        <a:bodyPr/>
        <a:lstStyle/>
        <a:p>
          <a:endParaRPr lang="en-US"/>
        </a:p>
      </dgm:t>
    </dgm:pt>
    <dgm:pt modelId="{D8999903-34AE-4C8A-B7A3-8860CE6F48B9}" type="sibTrans" cxnId="{735CE41F-A0AD-46FA-B173-BB6441BBE56F}">
      <dgm:prSet/>
      <dgm:spPr/>
      <dgm:t>
        <a:bodyPr/>
        <a:lstStyle/>
        <a:p>
          <a:endParaRPr lang="en-US"/>
        </a:p>
      </dgm:t>
    </dgm:pt>
    <dgm:pt modelId="{99BD833C-CDA2-441F-A158-D07F7684C5EC}">
      <dgm:prSet phldrT="[Text]" custT="1"/>
      <dgm:spPr/>
      <dgm:t>
        <a:bodyPr/>
        <a:lstStyle/>
        <a:p>
          <a:r>
            <a:rPr lang="en-US" sz="1800" dirty="0"/>
            <a:t>Retake</a:t>
          </a:r>
        </a:p>
      </dgm:t>
    </dgm:pt>
    <dgm:pt modelId="{B9735CB5-BF27-49D3-8E3C-5403378FE352}" type="parTrans" cxnId="{DF03AC4B-58FA-4BED-8AE7-4D7834F2C6B1}">
      <dgm:prSet/>
      <dgm:spPr/>
      <dgm:t>
        <a:bodyPr/>
        <a:lstStyle/>
        <a:p>
          <a:endParaRPr lang="en-US"/>
        </a:p>
      </dgm:t>
    </dgm:pt>
    <dgm:pt modelId="{A7519995-3F69-411E-931D-1A5B626D5E2E}" type="sibTrans" cxnId="{DF03AC4B-58FA-4BED-8AE7-4D7834F2C6B1}">
      <dgm:prSet/>
      <dgm:spPr/>
      <dgm:t>
        <a:bodyPr/>
        <a:lstStyle/>
        <a:p>
          <a:endParaRPr lang="en-US"/>
        </a:p>
      </dgm:t>
    </dgm:pt>
    <dgm:pt modelId="{6F98A04E-3C1F-4C94-BC2C-7BFA3C9FC195}">
      <dgm:prSet phldrT="[Text]" custT="1"/>
      <dgm:spPr/>
      <dgm:t>
        <a:bodyPr/>
        <a:lstStyle/>
        <a:p>
          <a:r>
            <a:rPr lang="en-US" sz="1800" dirty="0"/>
            <a:t>Recertification</a:t>
          </a:r>
        </a:p>
      </dgm:t>
    </dgm:pt>
    <dgm:pt modelId="{84A5CCF0-60C8-45EE-8E53-B407D77BFA0C}" type="parTrans" cxnId="{547F4F47-F9E5-483B-8D41-E62B831D7CAE}">
      <dgm:prSet/>
      <dgm:spPr/>
      <dgm:t>
        <a:bodyPr/>
        <a:lstStyle/>
        <a:p>
          <a:endParaRPr lang="en-US"/>
        </a:p>
      </dgm:t>
    </dgm:pt>
    <dgm:pt modelId="{8AD3D5BE-1FB2-488E-A6ED-82EEE33B3EF1}" type="sibTrans" cxnId="{547F4F47-F9E5-483B-8D41-E62B831D7CAE}">
      <dgm:prSet/>
      <dgm:spPr/>
      <dgm:t>
        <a:bodyPr/>
        <a:lstStyle/>
        <a:p>
          <a:endParaRPr lang="en-US"/>
        </a:p>
      </dgm:t>
    </dgm:pt>
    <dgm:pt modelId="{93ACE837-78D6-4B52-8531-A3B825E9C623}">
      <dgm:prSet phldrT="[Text]" custT="1"/>
      <dgm:spPr/>
      <dgm:t>
        <a:bodyPr/>
        <a:lstStyle/>
        <a:p>
          <a:r>
            <a:rPr lang="en-US" sz="1600" dirty="0"/>
            <a:t>Free Online Exam, hosted in Bonterra Academy</a:t>
          </a:r>
        </a:p>
      </dgm:t>
    </dgm:pt>
    <dgm:pt modelId="{1054F4DA-883B-4756-BEE1-B36CBBEE11F2}" type="parTrans" cxnId="{3A138573-AE46-4C2B-A6CF-4D7798ECB4F6}">
      <dgm:prSet/>
      <dgm:spPr/>
      <dgm:t>
        <a:bodyPr/>
        <a:lstStyle/>
        <a:p>
          <a:endParaRPr lang="en-US"/>
        </a:p>
      </dgm:t>
    </dgm:pt>
    <dgm:pt modelId="{A670201B-382D-4FF7-9834-E03617E7D32A}" type="sibTrans" cxnId="{3A138573-AE46-4C2B-A6CF-4D7798ECB4F6}">
      <dgm:prSet/>
      <dgm:spPr/>
      <dgm:t>
        <a:bodyPr/>
        <a:lstStyle/>
        <a:p>
          <a:endParaRPr lang="en-US"/>
        </a:p>
      </dgm:t>
    </dgm:pt>
    <dgm:pt modelId="{C62E40C8-79E0-4247-8B2F-B90BCCDACFA7}">
      <dgm:prSet phldrT="[Text]" custT="1"/>
      <dgm:spPr/>
      <dgm:t>
        <a:bodyPr/>
        <a:lstStyle/>
        <a:p>
          <a:r>
            <a:rPr lang="en-US" sz="1600" dirty="0"/>
            <a:t>50 Multiple Choice &amp; True / False</a:t>
          </a:r>
        </a:p>
      </dgm:t>
    </dgm:pt>
    <dgm:pt modelId="{A7BC1493-7BB6-472B-8A61-183E740072C6}" type="parTrans" cxnId="{396428F4-D7FB-4509-9756-2FFEF98EC8A6}">
      <dgm:prSet/>
      <dgm:spPr/>
      <dgm:t>
        <a:bodyPr/>
        <a:lstStyle/>
        <a:p>
          <a:endParaRPr lang="en-US"/>
        </a:p>
      </dgm:t>
    </dgm:pt>
    <dgm:pt modelId="{0F107AC1-A55D-427D-9E44-435413838237}" type="sibTrans" cxnId="{396428F4-D7FB-4509-9756-2FFEF98EC8A6}">
      <dgm:prSet/>
      <dgm:spPr/>
      <dgm:t>
        <a:bodyPr/>
        <a:lstStyle/>
        <a:p>
          <a:endParaRPr lang="en-US"/>
        </a:p>
      </dgm:t>
    </dgm:pt>
    <dgm:pt modelId="{A7A91D3A-4F0F-411D-B5DF-E2D1AD8463BD}">
      <dgm:prSet phldrT="[Text]" custT="1"/>
      <dgm:spPr/>
      <dgm:t>
        <a:bodyPr/>
        <a:lstStyle/>
        <a:p>
          <a:r>
            <a:rPr lang="en-US" sz="1600" dirty="0"/>
            <a:t>Use Help Center &amp; Apricot as needed</a:t>
          </a:r>
        </a:p>
      </dgm:t>
    </dgm:pt>
    <dgm:pt modelId="{455276FE-6E62-485A-952B-2F16CA8F7C88}" type="parTrans" cxnId="{E74F5867-E1C7-44BC-8C42-2419DD67EAA7}">
      <dgm:prSet/>
      <dgm:spPr/>
      <dgm:t>
        <a:bodyPr/>
        <a:lstStyle/>
        <a:p>
          <a:endParaRPr lang="en-US"/>
        </a:p>
      </dgm:t>
    </dgm:pt>
    <dgm:pt modelId="{7D7B5F4F-E065-4B8F-9924-6B65919BE3C5}" type="sibTrans" cxnId="{E74F5867-E1C7-44BC-8C42-2419DD67EAA7}">
      <dgm:prSet/>
      <dgm:spPr/>
      <dgm:t>
        <a:bodyPr/>
        <a:lstStyle/>
        <a:p>
          <a:endParaRPr lang="en-US"/>
        </a:p>
      </dgm:t>
    </dgm:pt>
    <dgm:pt modelId="{FB5D26E4-D6D8-4489-86B6-0ED15C7D67EC}">
      <dgm:prSet phldrT="[Text]" custT="1"/>
      <dgm:spPr/>
      <dgm:t>
        <a:bodyPr/>
        <a:lstStyle/>
        <a:p>
          <a:r>
            <a:rPr lang="en-US" sz="1600" dirty="0"/>
            <a:t>Graded in Real Time; Passing is 90%</a:t>
          </a:r>
        </a:p>
      </dgm:t>
    </dgm:pt>
    <dgm:pt modelId="{9B188D35-F5FE-4289-965F-9A34A4E12068}" type="parTrans" cxnId="{F9AD7844-2B36-4036-9D85-8F2F4BFC0FD4}">
      <dgm:prSet/>
      <dgm:spPr/>
      <dgm:t>
        <a:bodyPr/>
        <a:lstStyle/>
        <a:p>
          <a:endParaRPr lang="en-US"/>
        </a:p>
      </dgm:t>
    </dgm:pt>
    <dgm:pt modelId="{74ECCEAD-0CAB-4AA6-8B24-D6EB2AA727EE}" type="sibTrans" cxnId="{F9AD7844-2B36-4036-9D85-8F2F4BFC0FD4}">
      <dgm:prSet/>
      <dgm:spPr/>
      <dgm:t>
        <a:bodyPr/>
        <a:lstStyle/>
        <a:p>
          <a:endParaRPr lang="en-US"/>
        </a:p>
      </dgm:t>
    </dgm:pt>
    <dgm:pt modelId="{F8AE7887-2B07-4079-B09E-82EFF09D1F6A}">
      <dgm:prSet phldrT="[Text]" custT="1"/>
      <dgm:spPr/>
      <dgm:t>
        <a:bodyPr/>
        <a:lstStyle/>
        <a:p>
          <a:r>
            <a:rPr lang="en-US" sz="1600" dirty="0"/>
            <a:t>Option to Retake Once after 7 Day Wait if Score &lt;90%</a:t>
          </a:r>
        </a:p>
      </dgm:t>
    </dgm:pt>
    <dgm:pt modelId="{63B87B41-9A9B-4CCF-83D2-E68B2DE59035}" type="parTrans" cxnId="{F0DB2B41-FA94-48AE-9319-EE41CD294FAF}">
      <dgm:prSet/>
      <dgm:spPr/>
      <dgm:t>
        <a:bodyPr/>
        <a:lstStyle/>
        <a:p>
          <a:endParaRPr lang="en-US"/>
        </a:p>
      </dgm:t>
    </dgm:pt>
    <dgm:pt modelId="{1BC6C916-3C24-46F3-880E-CAE608E319C6}" type="sibTrans" cxnId="{F0DB2B41-FA94-48AE-9319-EE41CD294FAF}">
      <dgm:prSet/>
      <dgm:spPr/>
      <dgm:t>
        <a:bodyPr/>
        <a:lstStyle/>
        <a:p>
          <a:endParaRPr lang="en-US"/>
        </a:p>
      </dgm:t>
    </dgm:pt>
    <dgm:pt modelId="{F7EC1C61-64FE-470E-B532-D0595E8C8896}">
      <dgm:prSet phldrT="[Text]" custT="1"/>
      <dgm:spPr/>
      <dgm:t>
        <a:bodyPr/>
        <a:lstStyle/>
        <a:p>
          <a:r>
            <a:rPr lang="en-US" sz="1600" dirty="0"/>
            <a:t>Mini Quiz to be taken Bi-Annually</a:t>
          </a:r>
        </a:p>
      </dgm:t>
    </dgm:pt>
    <dgm:pt modelId="{547E89FE-D12C-4EA6-BD29-E9E2ADAC1D22}" type="parTrans" cxnId="{F26D1097-14E9-4D70-879A-2AD403EA285A}">
      <dgm:prSet/>
      <dgm:spPr/>
      <dgm:t>
        <a:bodyPr/>
        <a:lstStyle/>
        <a:p>
          <a:endParaRPr lang="en-US"/>
        </a:p>
      </dgm:t>
    </dgm:pt>
    <dgm:pt modelId="{5048EDDD-18C3-4AB8-834F-9B09C751917A}" type="sibTrans" cxnId="{F26D1097-14E9-4D70-879A-2AD403EA285A}">
      <dgm:prSet/>
      <dgm:spPr/>
      <dgm:t>
        <a:bodyPr/>
        <a:lstStyle/>
        <a:p>
          <a:endParaRPr lang="en-US"/>
        </a:p>
      </dgm:t>
    </dgm:pt>
    <dgm:pt modelId="{F5951EE3-BEEE-49B0-9F47-334CA017DB2B}" type="pres">
      <dgm:prSet presAssocID="{757CEC07-E8CC-42A1-A044-0316D73E18D1}" presName="linearFlow" presStyleCnt="0">
        <dgm:presLayoutVars>
          <dgm:dir/>
          <dgm:animLvl val="lvl"/>
          <dgm:resizeHandles/>
        </dgm:presLayoutVars>
      </dgm:prSet>
      <dgm:spPr/>
    </dgm:pt>
    <dgm:pt modelId="{3951E4B0-8F1C-4ED1-BDDE-CFD8F7FE6336}" type="pres">
      <dgm:prSet presAssocID="{4F84EBD6-2847-4AFF-AC66-0777910C6781}" presName="compositeNode" presStyleCnt="0">
        <dgm:presLayoutVars>
          <dgm:bulletEnabled val="1"/>
        </dgm:presLayoutVars>
      </dgm:prSet>
      <dgm:spPr/>
    </dgm:pt>
    <dgm:pt modelId="{4F8D67E9-C0E8-490D-B52D-B1549778361D}" type="pres">
      <dgm:prSet presAssocID="{4F84EBD6-2847-4AFF-AC66-0777910C6781}" presName="image" presStyleLbl="fgImgPlace1" presStyleIdx="0" presStyleCnt="6" custScaleX="143733" custScaleY="142368"/>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Laptop with solid fill"/>
        </a:ext>
      </dgm:extLst>
    </dgm:pt>
    <dgm:pt modelId="{50240BFA-9EB0-4A53-9B2C-DCB76108D80B}" type="pres">
      <dgm:prSet presAssocID="{4F84EBD6-2847-4AFF-AC66-0777910C6781}" presName="childNode" presStyleLbl="node1" presStyleIdx="0" presStyleCnt="6">
        <dgm:presLayoutVars>
          <dgm:bulletEnabled val="1"/>
        </dgm:presLayoutVars>
      </dgm:prSet>
      <dgm:spPr/>
    </dgm:pt>
    <dgm:pt modelId="{9E28F7D2-AE95-48C4-8A51-253229EF6ECF}" type="pres">
      <dgm:prSet presAssocID="{4F84EBD6-2847-4AFF-AC66-0777910C6781}" presName="parentNode" presStyleLbl="revTx" presStyleIdx="0" presStyleCnt="6">
        <dgm:presLayoutVars>
          <dgm:chMax val="0"/>
          <dgm:bulletEnabled val="1"/>
        </dgm:presLayoutVars>
      </dgm:prSet>
      <dgm:spPr/>
    </dgm:pt>
    <dgm:pt modelId="{81B3B015-FAA7-4A27-846A-EDE0B93BD460}" type="pres">
      <dgm:prSet presAssocID="{33D93160-AB3E-47BE-8614-261A73315F6B}" presName="sibTrans" presStyleCnt="0"/>
      <dgm:spPr/>
    </dgm:pt>
    <dgm:pt modelId="{3A08B866-40AE-4CBE-84E9-6784E0EA0275}" type="pres">
      <dgm:prSet presAssocID="{50DD8D44-F5C9-4164-978F-AC1AC2DABAAF}" presName="compositeNode" presStyleCnt="0">
        <dgm:presLayoutVars>
          <dgm:bulletEnabled val="1"/>
        </dgm:presLayoutVars>
      </dgm:prSet>
      <dgm:spPr/>
    </dgm:pt>
    <dgm:pt modelId="{53E1BE71-40BD-4A3F-9926-AA7276D66C81}" type="pres">
      <dgm:prSet presAssocID="{50DD8D44-F5C9-4164-978F-AC1AC2DABAAF}" presName="image" presStyleLbl="fgImgPlace1" presStyleIdx="1" presStyleCnt="6" custScaleX="143733" custScaleY="142368"/>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adge Question Mark with solid fill"/>
        </a:ext>
      </dgm:extLst>
    </dgm:pt>
    <dgm:pt modelId="{1D07A174-3848-4B71-B197-F47EB96CF2C1}" type="pres">
      <dgm:prSet presAssocID="{50DD8D44-F5C9-4164-978F-AC1AC2DABAAF}" presName="childNode" presStyleLbl="node1" presStyleIdx="1" presStyleCnt="6">
        <dgm:presLayoutVars>
          <dgm:bulletEnabled val="1"/>
        </dgm:presLayoutVars>
      </dgm:prSet>
      <dgm:spPr/>
    </dgm:pt>
    <dgm:pt modelId="{5F0495F4-71DB-44EB-B856-184C771DB28F}" type="pres">
      <dgm:prSet presAssocID="{50DD8D44-F5C9-4164-978F-AC1AC2DABAAF}" presName="parentNode" presStyleLbl="revTx" presStyleIdx="1" presStyleCnt="6">
        <dgm:presLayoutVars>
          <dgm:chMax val="0"/>
          <dgm:bulletEnabled val="1"/>
        </dgm:presLayoutVars>
      </dgm:prSet>
      <dgm:spPr/>
    </dgm:pt>
    <dgm:pt modelId="{681CBE19-0A3C-4200-9D58-F8FE6219BEC6}" type="pres">
      <dgm:prSet presAssocID="{7186F811-CE5D-413F-9EB1-E336EB652BA4}" presName="sibTrans" presStyleCnt="0"/>
      <dgm:spPr/>
    </dgm:pt>
    <dgm:pt modelId="{2E9633E9-967D-40C9-9674-06E319C3728C}" type="pres">
      <dgm:prSet presAssocID="{24733612-86A2-411A-8681-A696EAB55426}" presName="compositeNode" presStyleCnt="0">
        <dgm:presLayoutVars>
          <dgm:bulletEnabled val="1"/>
        </dgm:presLayoutVars>
      </dgm:prSet>
      <dgm:spPr/>
    </dgm:pt>
    <dgm:pt modelId="{306AA157-7C45-4F49-AED5-799FB004B6FA}" type="pres">
      <dgm:prSet presAssocID="{24733612-86A2-411A-8681-A696EAB55426}" presName="image" presStyleLbl="fgImgPlace1" presStyleIdx="2" presStyleCnt="6" custScaleX="143733" custScaleY="142368"/>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Books with solid fill"/>
        </a:ext>
      </dgm:extLst>
    </dgm:pt>
    <dgm:pt modelId="{E1DD40D3-EE1A-4506-9880-246427A42475}" type="pres">
      <dgm:prSet presAssocID="{24733612-86A2-411A-8681-A696EAB55426}" presName="childNode" presStyleLbl="node1" presStyleIdx="2" presStyleCnt="6">
        <dgm:presLayoutVars>
          <dgm:bulletEnabled val="1"/>
        </dgm:presLayoutVars>
      </dgm:prSet>
      <dgm:spPr/>
    </dgm:pt>
    <dgm:pt modelId="{A417F3F0-EDB1-426B-8C5F-2DC0D46D7350}" type="pres">
      <dgm:prSet presAssocID="{24733612-86A2-411A-8681-A696EAB55426}" presName="parentNode" presStyleLbl="revTx" presStyleIdx="2" presStyleCnt="6">
        <dgm:presLayoutVars>
          <dgm:chMax val="0"/>
          <dgm:bulletEnabled val="1"/>
        </dgm:presLayoutVars>
      </dgm:prSet>
      <dgm:spPr/>
    </dgm:pt>
    <dgm:pt modelId="{F83D54D1-364C-4063-85B2-EE79B5A68B46}" type="pres">
      <dgm:prSet presAssocID="{96294A06-272F-44E0-9A27-1ABFEB2FEF31}" presName="sibTrans" presStyleCnt="0"/>
      <dgm:spPr/>
    </dgm:pt>
    <dgm:pt modelId="{8C954EF7-032D-4675-9362-84F2B78D391C}" type="pres">
      <dgm:prSet presAssocID="{589DADCA-8D61-4487-9B8E-1D5E39519E19}" presName="compositeNode" presStyleCnt="0">
        <dgm:presLayoutVars>
          <dgm:bulletEnabled val="1"/>
        </dgm:presLayoutVars>
      </dgm:prSet>
      <dgm:spPr/>
    </dgm:pt>
    <dgm:pt modelId="{2E75B01D-661C-41C6-928E-C79B4A36D7F9}" type="pres">
      <dgm:prSet presAssocID="{589DADCA-8D61-4487-9B8E-1D5E39519E19}" presName="image" presStyleLbl="fgImgPlace1" presStyleIdx="3" presStyleCnt="6" custScaleX="143733" custScaleY="142368"/>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dgm:spPr>
      <dgm:extLst>
        <a:ext uri="{E40237B7-FDA0-4F09-8148-C483321AD2D9}">
          <dgm14:cNvPr xmlns:dgm14="http://schemas.microsoft.com/office/drawing/2010/diagram" id="0" name="" descr="Checklist with solid fill"/>
        </a:ext>
      </dgm:extLst>
    </dgm:pt>
    <dgm:pt modelId="{3B8E1E2D-D8D7-4704-B25F-DC61AD70E176}" type="pres">
      <dgm:prSet presAssocID="{589DADCA-8D61-4487-9B8E-1D5E39519E19}" presName="childNode" presStyleLbl="node1" presStyleIdx="3" presStyleCnt="6">
        <dgm:presLayoutVars>
          <dgm:bulletEnabled val="1"/>
        </dgm:presLayoutVars>
      </dgm:prSet>
      <dgm:spPr/>
    </dgm:pt>
    <dgm:pt modelId="{A6020944-4F52-4817-8026-F1BAAEE076BA}" type="pres">
      <dgm:prSet presAssocID="{589DADCA-8D61-4487-9B8E-1D5E39519E19}" presName="parentNode" presStyleLbl="revTx" presStyleIdx="3" presStyleCnt="6">
        <dgm:presLayoutVars>
          <dgm:chMax val="0"/>
          <dgm:bulletEnabled val="1"/>
        </dgm:presLayoutVars>
      </dgm:prSet>
      <dgm:spPr/>
    </dgm:pt>
    <dgm:pt modelId="{F01FC3C8-ECBF-46C5-9EEE-AF9DC8BAAE68}" type="pres">
      <dgm:prSet presAssocID="{D8999903-34AE-4C8A-B7A3-8860CE6F48B9}" presName="sibTrans" presStyleCnt="0"/>
      <dgm:spPr/>
    </dgm:pt>
    <dgm:pt modelId="{4A5D47B7-9B3F-4231-93D1-BD5D4E5E68D4}" type="pres">
      <dgm:prSet presAssocID="{99BD833C-CDA2-441F-A158-D07F7684C5EC}" presName="compositeNode" presStyleCnt="0">
        <dgm:presLayoutVars>
          <dgm:bulletEnabled val="1"/>
        </dgm:presLayoutVars>
      </dgm:prSet>
      <dgm:spPr/>
    </dgm:pt>
    <dgm:pt modelId="{A51B10D6-1405-46E9-97F8-B3FE5DED1A71}" type="pres">
      <dgm:prSet presAssocID="{99BD833C-CDA2-441F-A158-D07F7684C5EC}" presName="image" presStyleLbl="fgImgPlace1" presStyleIdx="4" presStyleCnt="6" custScaleX="143733" custScaleY="142368"/>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Refresh with solid fill"/>
        </a:ext>
      </dgm:extLst>
    </dgm:pt>
    <dgm:pt modelId="{D971018C-9A5C-44F3-A685-63CB3FFC6B02}" type="pres">
      <dgm:prSet presAssocID="{99BD833C-CDA2-441F-A158-D07F7684C5EC}" presName="childNode" presStyleLbl="node1" presStyleIdx="4" presStyleCnt="6">
        <dgm:presLayoutVars>
          <dgm:bulletEnabled val="1"/>
        </dgm:presLayoutVars>
      </dgm:prSet>
      <dgm:spPr/>
    </dgm:pt>
    <dgm:pt modelId="{A789AA48-65F8-401E-BFB6-0DA8A732C5F8}" type="pres">
      <dgm:prSet presAssocID="{99BD833C-CDA2-441F-A158-D07F7684C5EC}" presName="parentNode" presStyleLbl="revTx" presStyleIdx="4" presStyleCnt="6">
        <dgm:presLayoutVars>
          <dgm:chMax val="0"/>
          <dgm:bulletEnabled val="1"/>
        </dgm:presLayoutVars>
      </dgm:prSet>
      <dgm:spPr/>
    </dgm:pt>
    <dgm:pt modelId="{68938B91-587B-456E-93A6-E7414379F632}" type="pres">
      <dgm:prSet presAssocID="{A7519995-3F69-411E-931D-1A5B626D5E2E}" presName="sibTrans" presStyleCnt="0"/>
      <dgm:spPr/>
    </dgm:pt>
    <dgm:pt modelId="{7B1A3CC0-3C05-4EA6-ABC2-8605B2275105}" type="pres">
      <dgm:prSet presAssocID="{6F98A04E-3C1F-4C94-BC2C-7BFA3C9FC195}" presName="compositeNode" presStyleCnt="0">
        <dgm:presLayoutVars>
          <dgm:bulletEnabled val="1"/>
        </dgm:presLayoutVars>
      </dgm:prSet>
      <dgm:spPr/>
    </dgm:pt>
    <dgm:pt modelId="{7331E592-2E3C-4685-921F-F672935C65F6}" type="pres">
      <dgm:prSet presAssocID="{6F98A04E-3C1F-4C94-BC2C-7BFA3C9FC195}" presName="image" presStyleLbl="fgImgPlace1" presStyleIdx="5" presStyleCnt="6" custScaleX="143733" custScaleY="142368"/>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Flip calendar with solid fill"/>
        </a:ext>
      </dgm:extLst>
    </dgm:pt>
    <dgm:pt modelId="{CE3A6EA1-0FD6-4C89-8016-1A418D785703}" type="pres">
      <dgm:prSet presAssocID="{6F98A04E-3C1F-4C94-BC2C-7BFA3C9FC195}" presName="childNode" presStyleLbl="node1" presStyleIdx="5" presStyleCnt="6">
        <dgm:presLayoutVars>
          <dgm:bulletEnabled val="1"/>
        </dgm:presLayoutVars>
      </dgm:prSet>
      <dgm:spPr/>
    </dgm:pt>
    <dgm:pt modelId="{8674E9DD-96E6-4D64-A1D9-39FAC3C2FC96}" type="pres">
      <dgm:prSet presAssocID="{6F98A04E-3C1F-4C94-BC2C-7BFA3C9FC195}" presName="parentNode" presStyleLbl="revTx" presStyleIdx="5" presStyleCnt="6">
        <dgm:presLayoutVars>
          <dgm:chMax val="0"/>
          <dgm:bulletEnabled val="1"/>
        </dgm:presLayoutVars>
      </dgm:prSet>
      <dgm:spPr/>
    </dgm:pt>
  </dgm:ptLst>
  <dgm:cxnLst>
    <dgm:cxn modelId="{77A6301C-C65D-409C-A1CA-4B55F83E451B}" type="presOf" srcId="{F8AE7887-2B07-4079-B09E-82EFF09D1F6A}" destId="{D971018C-9A5C-44F3-A685-63CB3FFC6B02}" srcOrd="0" destOrd="0" presId="urn:microsoft.com/office/officeart/2005/8/layout/hList2"/>
    <dgm:cxn modelId="{54662C1E-2394-4B4A-8054-9E89E4235965}" type="presOf" srcId="{99BD833C-CDA2-441F-A158-D07F7684C5EC}" destId="{A789AA48-65F8-401E-BFB6-0DA8A732C5F8}" srcOrd="0" destOrd="0" presId="urn:microsoft.com/office/officeart/2005/8/layout/hList2"/>
    <dgm:cxn modelId="{735CE41F-A0AD-46FA-B173-BB6441BBE56F}" srcId="{757CEC07-E8CC-42A1-A044-0316D73E18D1}" destId="{589DADCA-8D61-4487-9B8E-1D5E39519E19}" srcOrd="3" destOrd="0" parTransId="{9897F6F5-4262-4D16-A327-52BF0ADA10AE}" sibTransId="{D8999903-34AE-4C8A-B7A3-8860CE6F48B9}"/>
    <dgm:cxn modelId="{1F8DD132-06B3-4E36-8810-108C5D95F06A}" type="presOf" srcId="{24733612-86A2-411A-8681-A696EAB55426}" destId="{A417F3F0-EDB1-426B-8C5F-2DC0D46D7350}" srcOrd="0" destOrd="0" presId="urn:microsoft.com/office/officeart/2005/8/layout/hList2"/>
    <dgm:cxn modelId="{64D7C73E-AF6D-4B13-99B5-E7D0CD34D230}" type="presOf" srcId="{F7EC1C61-64FE-470E-B532-D0595E8C8896}" destId="{CE3A6EA1-0FD6-4C89-8016-1A418D785703}" srcOrd="0" destOrd="0" presId="urn:microsoft.com/office/officeart/2005/8/layout/hList2"/>
    <dgm:cxn modelId="{F0DB2B41-FA94-48AE-9319-EE41CD294FAF}" srcId="{99BD833C-CDA2-441F-A158-D07F7684C5EC}" destId="{F8AE7887-2B07-4079-B09E-82EFF09D1F6A}" srcOrd="0" destOrd="0" parTransId="{63B87B41-9A9B-4CCF-83D2-E68B2DE59035}" sibTransId="{1BC6C916-3C24-46F3-880E-CAE608E319C6}"/>
    <dgm:cxn modelId="{F9AD7844-2B36-4036-9D85-8F2F4BFC0FD4}" srcId="{589DADCA-8D61-4487-9B8E-1D5E39519E19}" destId="{FB5D26E4-D6D8-4489-86B6-0ED15C7D67EC}" srcOrd="0" destOrd="0" parTransId="{9B188D35-F5FE-4289-965F-9A34A4E12068}" sibTransId="{74ECCEAD-0CAB-4AA6-8B24-D6EB2AA727EE}"/>
    <dgm:cxn modelId="{CEFCD846-622D-4313-95EB-39264AA72F46}" type="presOf" srcId="{FB5D26E4-D6D8-4489-86B6-0ED15C7D67EC}" destId="{3B8E1E2D-D8D7-4704-B25F-DC61AD70E176}" srcOrd="0" destOrd="0" presId="urn:microsoft.com/office/officeart/2005/8/layout/hList2"/>
    <dgm:cxn modelId="{547F4F47-F9E5-483B-8D41-E62B831D7CAE}" srcId="{757CEC07-E8CC-42A1-A044-0316D73E18D1}" destId="{6F98A04E-3C1F-4C94-BC2C-7BFA3C9FC195}" srcOrd="5" destOrd="0" parTransId="{84A5CCF0-60C8-45EE-8E53-B407D77BFA0C}" sibTransId="{8AD3D5BE-1FB2-488E-A6ED-82EEE33B3EF1}"/>
    <dgm:cxn modelId="{E74F5867-E1C7-44BC-8C42-2419DD67EAA7}" srcId="{24733612-86A2-411A-8681-A696EAB55426}" destId="{A7A91D3A-4F0F-411D-B5DF-E2D1AD8463BD}" srcOrd="0" destOrd="0" parTransId="{455276FE-6E62-485A-952B-2F16CA8F7C88}" sibTransId="{7D7B5F4F-E065-4B8F-9924-6B65919BE3C5}"/>
    <dgm:cxn modelId="{DF03AC4B-58FA-4BED-8AE7-4D7834F2C6B1}" srcId="{757CEC07-E8CC-42A1-A044-0316D73E18D1}" destId="{99BD833C-CDA2-441F-A158-D07F7684C5EC}" srcOrd="4" destOrd="0" parTransId="{B9735CB5-BF27-49D3-8E3C-5403378FE352}" sibTransId="{A7519995-3F69-411E-931D-1A5B626D5E2E}"/>
    <dgm:cxn modelId="{2585814C-E74A-4865-BE5F-CD0998830DF6}" srcId="{757CEC07-E8CC-42A1-A044-0316D73E18D1}" destId="{50DD8D44-F5C9-4164-978F-AC1AC2DABAAF}" srcOrd="1" destOrd="0" parTransId="{D629DFBD-E1D0-41D1-BD84-E989E98BD29F}" sibTransId="{7186F811-CE5D-413F-9EB1-E336EB652BA4}"/>
    <dgm:cxn modelId="{2B2F5151-9A19-4E82-9EFF-77B05A5D02B9}" type="presOf" srcId="{50DD8D44-F5C9-4164-978F-AC1AC2DABAAF}" destId="{5F0495F4-71DB-44EB-B856-184C771DB28F}" srcOrd="0" destOrd="0" presId="urn:microsoft.com/office/officeart/2005/8/layout/hList2"/>
    <dgm:cxn modelId="{3A138573-AE46-4C2B-A6CF-4D7798ECB4F6}" srcId="{4F84EBD6-2847-4AFF-AC66-0777910C6781}" destId="{93ACE837-78D6-4B52-8531-A3B825E9C623}" srcOrd="0" destOrd="0" parTransId="{1054F4DA-883B-4756-BEE1-B36CBBEE11F2}" sibTransId="{A670201B-382D-4FF7-9834-E03617E7D32A}"/>
    <dgm:cxn modelId="{A2FE7974-CED5-4C0F-838D-D0351D5307E3}" type="presOf" srcId="{757CEC07-E8CC-42A1-A044-0316D73E18D1}" destId="{F5951EE3-BEEE-49B0-9F47-334CA017DB2B}" srcOrd="0" destOrd="0" presId="urn:microsoft.com/office/officeart/2005/8/layout/hList2"/>
    <dgm:cxn modelId="{298A2387-3067-412E-9B1C-A789934AFF75}" srcId="{757CEC07-E8CC-42A1-A044-0316D73E18D1}" destId="{24733612-86A2-411A-8681-A696EAB55426}" srcOrd="2" destOrd="0" parTransId="{A057E3ED-C9EE-4A48-802F-8FC784D9AAC1}" sibTransId="{96294A06-272F-44E0-9A27-1ABFEB2FEF31}"/>
    <dgm:cxn modelId="{F26D1097-14E9-4D70-879A-2AD403EA285A}" srcId="{6F98A04E-3C1F-4C94-BC2C-7BFA3C9FC195}" destId="{F7EC1C61-64FE-470E-B532-D0595E8C8896}" srcOrd="0" destOrd="0" parTransId="{547E89FE-D12C-4EA6-BD29-E9E2ADAC1D22}" sibTransId="{5048EDDD-18C3-4AB8-834F-9B09C751917A}"/>
    <dgm:cxn modelId="{D46DC5AA-B31F-4C2E-93DB-52E465A798A7}" type="presOf" srcId="{589DADCA-8D61-4487-9B8E-1D5E39519E19}" destId="{A6020944-4F52-4817-8026-F1BAAEE076BA}" srcOrd="0" destOrd="0" presId="urn:microsoft.com/office/officeart/2005/8/layout/hList2"/>
    <dgm:cxn modelId="{1E0D90B9-2DEA-4A6F-AA82-FC703BEAD4DF}" type="presOf" srcId="{4F84EBD6-2847-4AFF-AC66-0777910C6781}" destId="{9E28F7D2-AE95-48C4-8A51-253229EF6ECF}" srcOrd="0" destOrd="0" presId="urn:microsoft.com/office/officeart/2005/8/layout/hList2"/>
    <dgm:cxn modelId="{F66347C7-8C41-4DDB-9F16-2C855DFCAE51}" type="presOf" srcId="{A7A91D3A-4F0F-411D-B5DF-E2D1AD8463BD}" destId="{E1DD40D3-EE1A-4506-9880-246427A42475}" srcOrd="0" destOrd="0" presId="urn:microsoft.com/office/officeart/2005/8/layout/hList2"/>
    <dgm:cxn modelId="{BDD190CE-2517-480A-88FE-8A0FC4FB8BD8}" type="presOf" srcId="{C62E40C8-79E0-4247-8B2F-B90BCCDACFA7}" destId="{1D07A174-3848-4B71-B197-F47EB96CF2C1}" srcOrd="0" destOrd="0" presId="urn:microsoft.com/office/officeart/2005/8/layout/hList2"/>
    <dgm:cxn modelId="{5A1B3CD0-454D-436D-869B-D62C32376B92}" srcId="{757CEC07-E8CC-42A1-A044-0316D73E18D1}" destId="{4F84EBD6-2847-4AFF-AC66-0777910C6781}" srcOrd="0" destOrd="0" parTransId="{F198C93E-8C95-435B-912F-770F74A9AC64}" sibTransId="{33D93160-AB3E-47BE-8614-261A73315F6B}"/>
    <dgm:cxn modelId="{9AC400E2-F04E-4D2A-9198-5B8C843B6104}" type="presOf" srcId="{6F98A04E-3C1F-4C94-BC2C-7BFA3C9FC195}" destId="{8674E9DD-96E6-4D64-A1D9-39FAC3C2FC96}" srcOrd="0" destOrd="0" presId="urn:microsoft.com/office/officeart/2005/8/layout/hList2"/>
    <dgm:cxn modelId="{396428F4-D7FB-4509-9756-2FFEF98EC8A6}" srcId="{50DD8D44-F5C9-4164-978F-AC1AC2DABAAF}" destId="{C62E40C8-79E0-4247-8B2F-B90BCCDACFA7}" srcOrd="0" destOrd="0" parTransId="{A7BC1493-7BB6-472B-8A61-183E740072C6}" sibTransId="{0F107AC1-A55D-427D-9E44-435413838237}"/>
    <dgm:cxn modelId="{9AB9D6FF-E95F-4B0B-9421-AD1DBBF97057}" type="presOf" srcId="{93ACE837-78D6-4B52-8531-A3B825E9C623}" destId="{50240BFA-9EB0-4A53-9B2C-DCB76108D80B}" srcOrd="0" destOrd="0" presId="urn:microsoft.com/office/officeart/2005/8/layout/hList2"/>
    <dgm:cxn modelId="{F10F4697-E3F9-45D0-8675-AB0D6A9BD4FB}" type="presParOf" srcId="{F5951EE3-BEEE-49B0-9F47-334CA017DB2B}" destId="{3951E4B0-8F1C-4ED1-BDDE-CFD8F7FE6336}" srcOrd="0" destOrd="0" presId="urn:microsoft.com/office/officeart/2005/8/layout/hList2"/>
    <dgm:cxn modelId="{FEC9CE6B-FC29-4DDA-91A9-EB2F9AD4AAB7}" type="presParOf" srcId="{3951E4B0-8F1C-4ED1-BDDE-CFD8F7FE6336}" destId="{4F8D67E9-C0E8-490D-B52D-B1549778361D}" srcOrd="0" destOrd="0" presId="urn:microsoft.com/office/officeart/2005/8/layout/hList2"/>
    <dgm:cxn modelId="{24D6CEE7-F989-4E02-81C5-F33897A1E095}" type="presParOf" srcId="{3951E4B0-8F1C-4ED1-BDDE-CFD8F7FE6336}" destId="{50240BFA-9EB0-4A53-9B2C-DCB76108D80B}" srcOrd="1" destOrd="0" presId="urn:microsoft.com/office/officeart/2005/8/layout/hList2"/>
    <dgm:cxn modelId="{89444E9F-4D70-4943-999C-247E0BA566B3}" type="presParOf" srcId="{3951E4B0-8F1C-4ED1-BDDE-CFD8F7FE6336}" destId="{9E28F7D2-AE95-48C4-8A51-253229EF6ECF}" srcOrd="2" destOrd="0" presId="urn:microsoft.com/office/officeart/2005/8/layout/hList2"/>
    <dgm:cxn modelId="{D7351911-54B1-4E97-9A96-61BB0F6E257C}" type="presParOf" srcId="{F5951EE3-BEEE-49B0-9F47-334CA017DB2B}" destId="{81B3B015-FAA7-4A27-846A-EDE0B93BD460}" srcOrd="1" destOrd="0" presId="urn:microsoft.com/office/officeart/2005/8/layout/hList2"/>
    <dgm:cxn modelId="{4B3B956C-68B9-40B4-BD73-471A27CCB804}" type="presParOf" srcId="{F5951EE3-BEEE-49B0-9F47-334CA017DB2B}" destId="{3A08B866-40AE-4CBE-84E9-6784E0EA0275}" srcOrd="2" destOrd="0" presId="urn:microsoft.com/office/officeart/2005/8/layout/hList2"/>
    <dgm:cxn modelId="{0F56971D-E8C0-4135-9661-C00168A29B31}" type="presParOf" srcId="{3A08B866-40AE-4CBE-84E9-6784E0EA0275}" destId="{53E1BE71-40BD-4A3F-9926-AA7276D66C81}" srcOrd="0" destOrd="0" presId="urn:microsoft.com/office/officeart/2005/8/layout/hList2"/>
    <dgm:cxn modelId="{4A25883A-9436-4FDF-9CF6-46D803CE1519}" type="presParOf" srcId="{3A08B866-40AE-4CBE-84E9-6784E0EA0275}" destId="{1D07A174-3848-4B71-B197-F47EB96CF2C1}" srcOrd="1" destOrd="0" presId="urn:microsoft.com/office/officeart/2005/8/layout/hList2"/>
    <dgm:cxn modelId="{0EDB329F-E9D7-43A0-9C2A-9C0B6B72A2D3}" type="presParOf" srcId="{3A08B866-40AE-4CBE-84E9-6784E0EA0275}" destId="{5F0495F4-71DB-44EB-B856-184C771DB28F}" srcOrd="2" destOrd="0" presId="urn:microsoft.com/office/officeart/2005/8/layout/hList2"/>
    <dgm:cxn modelId="{FFA8E858-1086-49C8-AC3E-2B9D012AA08A}" type="presParOf" srcId="{F5951EE3-BEEE-49B0-9F47-334CA017DB2B}" destId="{681CBE19-0A3C-4200-9D58-F8FE6219BEC6}" srcOrd="3" destOrd="0" presId="urn:microsoft.com/office/officeart/2005/8/layout/hList2"/>
    <dgm:cxn modelId="{E2954972-9A38-40FE-8889-E3D6117F36EF}" type="presParOf" srcId="{F5951EE3-BEEE-49B0-9F47-334CA017DB2B}" destId="{2E9633E9-967D-40C9-9674-06E319C3728C}" srcOrd="4" destOrd="0" presId="urn:microsoft.com/office/officeart/2005/8/layout/hList2"/>
    <dgm:cxn modelId="{528282B7-020B-471A-85C2-EF642685C115}" type="presParOf" srcId="{2E9633E9-967D-40C9-9674-06E319C3728C}" destId="{306AA157-7C45-4F49-AED5-799FB004B6FA}" srcOrd="0" destOrd="0" presId="urn:microsoft.com/office/officeart/2005/8/layout/hList2"/>
    <dgm:cxn modelId="{26817063-3F16-45A5-B3F2-6E15D1A10E77}" type="presParOf" srcId="{2E9633E9-967D-40C9-9674-06E319C3728C}" destId="{E1DD40D3-EE1A-4506-9880-246427A42475}" srcOrd="1" destOrd="0" presId="urn:microsoft.com/office/officeart/2005/8/layout/hList2"/>
    <dgm:cxn modelId="{D586ADD3-88D1-4FBA-8AA2-FF6A15BA342A}" type="presParOf" srcId="{2E9633E9-967D-40C9-9674-06E319C3728C}" destId="{A417F3F0-EDB1-426B-8C5F-2DC0D46D7350}" srcOrd="2" destOrd="0" presId="urn:microsoft.com/office/officeart/2005/8/layout/hList2"/>
    <dgm:cxn modelId="{B2DD4D16-E384-482B-8DD8-A28AA252EF9E}" type="presParOf" srcId="{F5951EE3-BEEE-49B0-9F47-334CA017DB2B}" destId="{F83D54D1-364C-4063-85B2-EE79B5A68B46}" srcOrd="5" destOrd="0" presId="urn:microsoft.com/office/officeart/2005/8/layout/hList2"/>
    <dgm:cxn modelId="{6DDD5596-C7E4-4D50-BC74-2C7418DCA99B}" type="presParOf" srcId="{F5951EE3-BEEE-49B0-9F47-334CA017DB2B}" destId="{8C954EF7-032D-4675-9362-84F2B78D391C}" srcOrd="6" destOrd="0" presId="urn:microsoft.com/office/officeart/2005/8/layout/hList2"/>
    <dgm:cxn modelId="{B56DC1C0-3235-43EF-A074-AFF04C26E94A}" type="presParOf" srcId="{8C954EF7-032D-4675-9362-84F2B78D391C}" destId="{2E75B01D-661C-41C6-928E-C79B4A36D7F9}" srcOrd="0" destOrd="0" presId="urn:microsoft.com/office/officeart/2005/8/layout/hList2"/>
    <dgm:cxn modelId="{A422FFD9-62AC-49D1-9A67-5F6ADFDA0CB8}" type="presParOf" srcId="{8C954EF7-032D-4675-9362-84F2B78D391C}" destId="{3B8E1E2D-D8D7-4704-B25F-DC61AD70E176}" srcOrd="1" destOrd="0" presId="urn:microsoft.com/office/officeart/2005/8/layout/hList2"/>
    <dgm:cxn modelId="{0619A874-092E-453C-94F8-F64A1B57665F}" type="presParOf" srcId="{8C954EF7-032D-4675-9362-84F2B78D391C}" destId="{A6020944-4F52-4817-8026-F1BAAEE076BA}" srcOrd="2" destOrd="0" presId="urn:microsoft.com/office/officeart/2005/8/layout/hList2"/>
    <dgm:cxn modelId="{84C78A7A-5F6C-49DE-B4DE-57BD69A210C6}" type="presParOf" srcId="{F5951EE3-BEEE-49B0-9F47-334CA017DB2B}" destId="{F01FC3C8-ECBF-46C5-9EEE-AF9DC8BAAE68}" srcOrd="7" destOrd="0" presId="urn:microsoft.com/office/officeart/2005/8/layout/hList2"/>
    <dgm:cxn modelId="{FEE1A664-9F40-47BB-92B7-9E49127344E7}" type="presParOf" srcId="{F5951EE3-BEEE-49B0-9F47-334CA017DB2B}" destId="{4A5D47B7-9B3F-4231-93D1-BD5D4E5E68D4}" srcOrd="8" destOrd="0" presId="urn:microsoft.com/office/officeart/2005/8/layout/hList2"/>
    <dgm:cxn modelId="{A1991BAC-E89A-47EE-97C0-DF083B19AA1D}" type="presParOf" srcId="{4A5D47B7-9B3F-4231-93D1-BD5D4E5E68D4}" destId="{A51B10D6-1405-46E9-97F8-B3FE5DED1A71}" srcOrd="0" destOrd="0" presId="urn:microsoft.com/office/officeart/2005/8/layout/hList2"/>
    <dgm:cxn modelId="{41DDF708-8887-4ABB-A8BC-037CCD9D4A34}" type="presParOf" srcId="{4A5D47B7-9B3F-4231-93D1-BD5D4E5E68D4}" destId="{D971018C-9A5C-44F3-A685-63CB3FFC6B02}" srcOrd="1" destOrd="0" presId="urn:microsoft.com/office/officeart/2005/8/layout/hList2"/>
    <dgm:cxn modelId="{C577B2C5-5600-4EF8-97EE-36E3D334A1C2}" type="presParOf" srcId="{4A5D47B7-9B3F-4231-93D1-BD5D4E5E68D4}" destId="{A789AA48-65F8-401E-BFB6-0DA8A732C5F8}" srcOrd="2" destOrd="0" presId="urn:microsoft.com/office/officeart/2005/8/layout/hList2"/>
    <dgm:cxn modelId="{D0466AE2-159C-4B73-BA1E-E0D61098B2A1}" type="presParOf" srcId="{F5951EE3-BEEE-49B0-9F47-334CA017DB2B}" destId="{68938B91-587B-456E-93A6-E7414379F632}" srcOrd="9" destOrd="0" presId="urn:microsoft.com/office/officeart/2005/8/layout/hList2"/>
    <dgm:cxn modelId="{BD7BBD5A-2DDB-4331-B423-468FFEAE873E}" type="presParOf" srcId="{F5951EE3-BEEE-49B0-9F47-334CA017DB2B}" destId="{7B1A3CC0-3C05-4EA6-ABC2-8605B2275105}" srcOrd="10" destOrd="0" presId="urn:microsoft.com/office/officeart/2005/8/layout/hList2"/>
    <dgm:cxn modelId="{BBD432F3-8DDE-4E86-8776-C47487CB86C4}" type="presParOf" srcId="{7B1A3CC0-3C05-4EA6-ABC2-8605B2275105}" destId="{7331E592-2E3C-4685-921F-F672935C65F6}" srcOrd="0" destOrd="0" presId="urn:microsoft.com/office/officeart/2005/8/layout/hList2"/>
    <dgm:cxn modelId="{B211529D-A4F1-4F89-9D2F-F14FF56AC854}" type="presParOf" srcId="{7B1A3CC0-3C05-4EA6-ABC2-8605B2275105}" destId="{CE3A6EA1-0FD6-4C89-8016-1A418D785703}" srcOrd="1" destOrd="0" presId="urn:microsoft.com/office/officeart/2005/8/layout/hList2"/>
    <dgm:cxn modelId="{167D3D34-FFA4-4B69-8CA4-783E6342DD75}" type="presParOf" srcId="{7B1A3CC0-3C05-4EA6-ABC2-8605B2275105}" destId="{8674E9DD-96E6-4D64-A1D9-39FAC3C2FC96}"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5889F33-5C7D-4962-AFA3-26814DF33007}" type="doc">
      <dgm:prSet loTypeId="urn:microsoft.com/office/officeart/2008/layout/TitledPictureBlocks" loCatId="picture" qsTypeId="urn:microsoft.com/office/officeart/2005/8/quickstyle/simple1" qsCatId="simple" csTypeId="urn:microsoft.com/office/officeart/2005/8/colors/colorful1" csCatId="colorful" phldr="1"/>
      <dgm:spPr/>
    </dgm:pt>
    <dgm:pt modelId="{17F8C864-7F5E-4654-8B7A-0225516F7513}">
      <dgm:prSet phldrT="[Text]" custT="1"/>
      <dgm:spPr/>
      <dgm:t>
        <a:bodyPr/>
        <a:lstStyle/>
        <a:p>
          <a:r>
            <a:rPr lang="en-US" sz="1600" b="1" dirty="0"/>
            <a:t>Admin Role</a:t>
          </a:r>
        </a:p>
      </dgm:t>
    </dgm:pt>
    <dgm:pt modelId="{EE068FE6-4D7F-42DA-8D15-815BDB67A63E}" type="parTrans" cxnId="{42EAE520-FC8C-4D99-A4FF-D2E7100363F9}">
      <dgm:prSet/>
      <dgm:spPr/>
      <dgm:t>
        <a:bodyPr/>
        <a:lstStyle/>
        <a:p>
          <a:endParaRPr lang="en-US"/>
        </a:p>
      </dgm:t>
    </dgm:pt>
    <dgm:pt modelId="{B9E84819-A2A0-4BD7-BC5B-FD32B5CB7E21}" type="sibTrans" cxnId="{42EAE520-FC8C-4D99-A4FF-D2E7100363F9}">
      <dgm:prSet/>
      <dgm:spPr/>
      <dgm:t>
        <a:bodyPr/>
        <a:lstStyle/>
        <a:p>
          <a:endParaRPr lang="en-US"/>
        </a:p>
      </dgm:t>
    </dgm:pt>
    <dgm:pt modelId="{1D26F471-4B92-442B-9884-20B7276BF8AB}">
      <dgm:prSet phldrT="[Text]" custT="1"/>
      <dgm:spPr/>
      <dgm:t>
        <a:bodyPr/>
        <a:lstStyle/>
        <a:p>
          <a:r>
            <a:rPr lang="en-US" sz="1600" b="1" dirty="0"/>
            <a:t>Form Design</a:t>
          </a:r>
        </a:p>
      </dgm:t>
    </dgm:pt>
    <dgm:pt modelId="{AD74F950-D281-4FC5-8960-53995B6D2896}" type="parTrans" cxnId="{BF5FCABC-8739-42A1-AD05-104074F5D0C2}">
      <dgm:prSet/>
      <dgm:spPr/>
      <dgm:t>
        <a:bodyPr/>
        <a:lstStyle/>
        <a:p>
          <a:endParaRPr lang="en-US"/>
        </a:p>
      </dgm:t>
    </dgm:pt>
    <dgm:pt modelId="{CA24667D-2CBB-4E71-AE94-996113295C11}" type="sibTrans" cxnId="{BF5FCABC-8739-42A1-AD05-104074F5D0C2}">
      <dgm:prSet/>
      <dgm:spPr/>
      <dgm:t>
        <a:bodyPr/>
        <a:lstStyle/>
        <a:p>
          <a:endParaRPr lang="en-US"/>
        </a:p>
      </dgm:t>
    </dgm:pt>
    <dgm:pt modelId="{D53CD35D-618D-43C6-91F2-13D8A7E73A85}">
      <dgm:prSet phldrT="[Text]" custT="1"/>
      <dgm:spPr/>
      <dgm:t>
        <a:bodyPr/>
        <a:lstStyle/>
        <a:p>
          <a:r>
            <a:rPr lang="en-US" sz="1600" b="1" dirty="0"/>
            <a:t>User Management</a:t>
          </a:r>
        </a:p>
      </dgm:t>
    </dgm:pt>
    <dgm:pt modelId="{104E6580-D6EC-4E30-BDFE-053522936781}" type="parTrans" cxnId="{63B6C54E-16D2-47DD-96D0-2EE0A222CB3E}">
      <dgm:prSet/>
      <dgm:spPr/>
      <dgm:t>
        <a:bodyPr/>
        <a:lstStyle/>
        <a:p>
          <a:endParaRPr lang="en-US"/>
        </a:p>
      </dgm:t>
    </dgm:pt>
    <dgm:pt modelId="{99A0BF64-CEAF-4CC6-B57C-219B5A54F2C0}" type="sibTrans" cxnId="{63B6C54E-16D2-47DD-96D0-2EE0A222CB3E}">
      <dgm:prSet/>
      <dgm:spPr/>
      <dgm:t>
        <a:bodyPr/>
        <a:lstStyle/>
        <a:p>
          <a:endParaRPr lang="en-US"/>
        </a:p>
      </dgm:t>
    </dgm:pt>
    <dgm:pt modelId="{1230550B-0816-4B53-B74E-9D412A1E2DB5}">
      <dgm:prSet phldrT="[Text]" custT="1"/>
      <dgm:spPr/>
      <dgm:t>
        <a:bodyPr/>
        <a:lstStyle/>
        <a:p>
          <a:r>
            <a:rPr lang="en-US" sz="1600" b="1" dirty="0"/>
            <a:t>How to Track…</a:t>
          </a:r>
        </a:p>
      </dgm:t>
    </dgm:pt>
    <dgm:pt modelId="{A4729499-50DD-4973-B4C8-E25F561A30C0}" type="parTrans" cxnId="{9BBF0A94-0FDA-4BAE-B9A3-41B7823CD0CC}">
      <dgm:prSet/>
      <dgm:spPr/>
      <dgm:t>
        <a:bodyPr/>
        <a:lstStyle/>
        <a:p>
          <a:endParaRPr lang="en-US"/>
        </a:p>
      </dgm:t>
    </dgm:pt>
    <dgm:pt modelId="{95468C2B-7ABF-4F00-9FD8-62F8EF064972}" type="sibTrans" cxnId="{9BBF0A94-0FDA-4BAE-B9A3-41B7823CD0CC}">
      <dgm:prSet/>
      <dgm:spPr/>
      <dgm:t>
        <a:bodyPr/>
        <a:lstStyle/>
        <a:p>
          <a:endParaRPr lang="en-US"/>
        </a:p>
      </dgm:t>
    </dgm:pt>
    <dgm:pt modelId="{F7FF1C9E-4AF7-4B86-B416-D5FD94CD6E56}">
      <dgm:prSet phldrT="[Text]" custT="1"/>
      <dgm:spPr/>
      <dgm:t>
        <a:bodyPr/>
        <a:lstStyle/>
        <a:p>
          <a:r>
            <a:rPr lang="en-US" sz="1600" b="1" dirty="0"/>
            <a:t>Data Management</a:t>
          </a:r>
        </a:p>
      </dgm:t>
    </dgm:pt>
    <dgm:pt modelId="{01576F41-D817-4E26-844F-1AE4660123C5}" type="parTrans" cxnId="{56E7C73F-416D-4B73-8351-F84FBE495616}">
      <dgm:prSet/>
      <dgm:spPr/>
      <dgm:t>
        <a:bodyPr/>
        <a:lstStyle/>
        <a:p>
          <a:endParaRPr lang="en-US"/>
        </a:p>
      </dgm:t>
    </dgm:pt>
    <dgm:pt modelId="{930D49DF-CE10-42DA-8C28-9C5485A8D1CA}" type="sibTrans" cxnId="{56E7C73F-416D-4B73-8351-F84FBE495616}">
      <dgm:prSet/>
      <dgm:spPr/>
      <dgm:t>
        <a:bodyPr/>
        <a:lstStyle/>
        <a:p>
          <a:endParaRPr lang="en-US"/>
        </a:p>
      </dgm:t>
    </dgm:pt>
    <dgm:pt modelId="{85EA985E-7985-46C4-A3B4-B3F1E0D7E72D}">
      <dgm:prSet phldrT="[Text]" custT="1"/>
      <dgm:spPr/>
      <dgm:t>
        <a:bodyPr/>
        <a:lstStyle/>
        <a:p>
          <a:r>
            <a:rPr lang="en-US" sz="1600" b="1" dirty="0"/>
            <a:t>Additional Features</a:t>
          </a:r>
        </a:p>
      </dgm:t>
    </dgm:pt>
    <dgm:pt modelId="{E86360F6-C40E-49D9-9D5A-24FBBB567EF7}" type="parTrans" cxnId="{AE4CFB47-3CC2-43B4-8F1D-EC2A96A18984}">
      <dgm:prSet/>
      <dgm:spPr/>
      <dgm:t>
        <a:bodyPr/>
        <a:lstStyle/>
        <a:p>
          <a:endParaRPr lang="en-US"/>
        </a:p>
      </dgm:t>
    </dgm:pt>
    <dgm:pt modelId="{475B7AD5-AAD9-4B88-A93E-7A65F2C03C51}" type="sibTrans" cxnId="{AE4CFB47-3CC2-43B4-8F1D-EC2A96A18984}">
      <dgm:prSet/>
      <dgm:spPr/>
      <dgm:t>
        <a:bodyPr/>
        <a:lstStyle/>
        <a:p>
          <a:endParaRPr lang="en-US"/>
        </a:p>
      </dgm:t>
    </dgm:pt>
    <dgm:pt modelId="{A478DAF0-3D76-4FA5-8B8B-A7FD1E132952}">
      <dgm:prSet phldrT="[Text]" custT="1"/>
      <dgm:spPr/>
      <dgm:t>
        <a:bodyPr/>
        <a:lstStyle/>
        <a:p>
          <a:r>
            <a:rPr lang="en-US" sz="1600" b="1" dirty="0"/>
            <a:t>Native Reporting</a:t>
          </a:r>
        </a:p>
      </dgm:t>
    </dgm:pt>
    <dgm:pt modelId="{65A9877B-5A4D-44CC-8080-4AEE9C1C7EDC}" type="parTrans" cxnId="{069531BA-249B-4A56-B8A6-8A6483992C00}">
      <dgm:prSet/>
      <dgm:spPr/>
      <dgm:t>
        <a:bodyPr/>
        <a:lstStyle/>
        <a:p>
          <a:endParaRPr lang="en-US"/>
        </a:p>
      </dgm:t>
    </dgm:pt>
    <dgm:pt modelId="{B7F4DA74-59AD-4E08-8720-CA5B385B4BBA}" type="sibTrans" cxnId="{069531BA-249B-4A56-B8A6-8A6483992C00}">
      <dgm:prSet/>
      <dgm:spPr/>
      <dgm:t>
        <a:bodyPr/>
        <a:lstStyle/>
        <a:p>
          <a:endParaRPr lang="en-US"/>
        </a:p>
      </dgm:t>
    </dgm:pt>
    <dgm:pt modelId="{43135B02-5EFD-41C2-9BB9-F038EF990526}" type="pres">
      <dgm:prSet presAssocID="{05889F33-5C7D-4962-AFA3-26814DF33007}" presName="rootNode" presStyleCnt="0">
        <dgm:presLayoutVars>
          <dgm:chMax/>
          <dgm:chPref/>
          <dgm:dir/>
          <dgm:animLvl val="lvl"/>
        </dgm:presLayoutVars>
      </dgm:prSet>
      <dgm:spPr/>
    </dgm:pt>
    <dgm:pt modelId="{41F35791-AB16-4290-9A68-0A05237C15A6}" type="pres">
      <dgm:prSet presAssocID="{17F8C864-7F5E-4654-8B7A-0225516F7513}" presName="composite" presStyleCnt="0"/>
      <dgm:spPr/>
    </dgm:pt>
    <dgm:pt modelId="{018BDB7C-1BA6-4B80-BC24-4EF58FCB5549}" type="pres">
      <dgm:prSet presAssocID="{17F8C864-7F5E-4654-8B7A-0225516F7513}" presName="ParentText" presStyleLbl="node1" presStyleIdx="0" presStyleCnt="7" custScaleX="119758" custScaleY="204947">
        <dgm:presLayoutVars>
          <dgm:chMax val="1"/>
          <dgm:chPref val="1"/>
          <dgm:bulletEnabled val="1"/>
        </dgm:presLayoutVars>
      </dgm:prSet>
      <dgm:spPr/>
    </dgm:pt>
    <dgm:pt modelId="{34B995B7-4CD9-4E7E-BB01-00CA6EE9F47E}" type="pres">
      <dgm:prSet presAssocID="{17F8C864-7F5E-4654-8B7A-0225516F7513}" presName="Image" presStyleLbl="bgImgPlace1" presStyleIdx="0" presStyleCnt="7" custScaleX="79548"/>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User with solid fill"/>
        </a:ext>
      </dgm:extLst>
    </dgm:pt>
    <dgm:pt modelId="{3F236A4E-FD73-47A8-A43D-2C40E1DBB102}" type="pres">
      <dgm:prSet presAssocID="{17F8C864-7F5E-4654-8B7A-0225516F7513}" presName="ChildText" presStyleLbl="fgAcc1" presStyleIdx="0" presStyleCnt="0">
        <dgm:presLayoutVars>
          <dgm:chMax val="0"/>
          <dgm:chPref val="0"/>
          <dgm:bulletEnabled val="1"/>
        </dgm:presLayoutVars>
      </dgm:prSet>
      <dgm:spPr/>
    </dgm:pt>
    <dgm:pt modelId="{4024AAEA-2917-4FBF-BF3B-E151D2AC3D4F}" type="pres">
      <dgm:prSet presAssocID="{B9E84819-A2A0-4BD7-BC5B-FD32B5CB7E21}" presName="sibTrans" presStyleCnt="0"/>
      <dgm:spPr/>
    </dgm:pt>
    <dgm:pt modelId="{0300FCCC-C342-45ED-A717-12CF63835B48}" type="pres">
      <dgm:prSet presAssocID="{1D26F471-4B92-442B-9884-20B7276BF8AB}" presName="composite" presStyleCnt="0"/>
      <dgm:spPr/>
    </dgm:pt>
    <dgm:pt modelId="{B23B4DEE-E35A-4371-9716-30447B44A49F}" type="pres">
      <dgm:prSet presAssocID="{1D26F471-4B92-442B-9884-20B7276BF8AB}" presName="ParentText" presStyleLbl="node1" presStyleIdx="1" presStyleCnt="7" custScaleX="119758" custScaleY="204947">
        <dgm:presLayoutVars>
          <dgm:chMax val="1"/>
          <dgm:chPref val="1"/>
          <dgm:bulletEnabled val="1"/>
        </dgm:presLayoutVars>
      </dgm:prSet>
      <dgm:spPr/>
    </dgm:pt>
    <dgm:pt modelId="{9C770FCE-A5AD-4D84-A6A4-5FA8D993A458}" type="pres">
      <dgm:prSet presAssocID="{1D26F471-4B92-442B-9884-20B7276BF8AB}" presName="Image" presStyleLbl="bgImgPlace1" presStyleIdx="1" presStyleCnt="7" custScaleX="79548"/>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ipboard Mixed with solid fill"/>
        </a:ext>
      </dgm:extLst>
    </dgm:pt>
    <dgm:pt modelId="{007B4F99-197E-4CB5-8801-729126EFEF40}" type="pres">
      <dgm:prSet presAssocID="{1D26F471-4B92-442B-9884-20B7276BF8AB}" presName="ChildText" presStyleLbl="fgAcc1" presStyleIdx="0" presStyleCnt="0">
        <dgm:presLayoutVars>
          <dgm:chMax val="0"/>
          <dgm:chPref val="0"/>
          <dgm:bulletEnabled val="1"/>
        </dgm:presLayoutVars>
      </dgm:prSet>
      <dgm:spPr/>
    </dgm:pt>
    <dgm:pt modelId="{CEC2AE56-A916-48BE-A365-7D58156854C8}" type="pres">
      <dgm:prSet presAssocID="{CA24667D-2CBB-4E71-AE94-996113295C11}" presName="sibTrans" presStyleCnt="0"/>
      <dgm:spPr/>
    </dgm:pt>
    <dgm:pt modelId="{C8971BA3-4117-40C0-B0F3-104A813F1775}" type="pres">
      <dgm:prSet presAssocID="{1230550B-0816-4B53-B74E-9D412A1E2DB5}" presName="composite" presStyleCnt="0"/>
      <dgm:spPr/>
    </dgm:pt>
    <dgm:pt modelId="{3109ECDA-4DBD-4D24-8B47-33621DCD5063}" type="pres">
      <dgm:prSet presAssocID="{1230550B-0816-4B53-B74E-9D412A1E2DB5}" presName="ParentText" presStyleLbl="node1" presStyleIdx="2" presStyleCnt="7" custScaleX="119758" custScaleY="204947">
        <dgm:presLayoutVars>
          <dgm:chMax val="1"/>
          <dgm:chPref val="1"/>
          <dgm:bulletEnabled val="1"/>
        </dgm:presLayoutVars>
      </dgm:prSet>
      <dgm:spPr/>
    </dgm:pt>
    <dgm:pt modelId="{6B8E77CA-2356-4F53-AB35-06236DDE9C2E}" type="pres">
      <dgm:prSet presAssocID="{1230550B-0816-4B53-B74E-9D412A1E2DB5}" presName="Image" presStyleLbl="bgImgPlace1" presStyleIdx="2" presStyleCnt="7" custScaleX="79548"/>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Playbook with solid fill"/>
        </a:ext>
      </dgm:extLst>
    </dgm:pt>
    <dgm:pt modelId="{FD808EF6-074A-4991-A97F-47B96E8C8A97}" type="pres">
      <dgm:prSet presAssocID="{1230550B-0816-4B53-B74E-9D412A1E2DB5}" presName="ChildText" presStyleLbl="fgAcc1" presStyleIdx="0" presStyleCnt="0">
        <dgm:presLayoutVars>
          <dgm:chMax val="0"/>
          <dgm:chPref val="0"/>
          <dgm:bulletEnabled val="1"/>
        </dgm:presLayoutVars>
      </dgm:prSet>
      <dgm:spPr/>
    </dgm:pt>
    <dgm:pt modelId="{67AF19FE-47F0-44FF-9764-ABC6B4F9D97B}" type="pres">
      <dgm:prSet presAssocID="{95468C2B-7ABF-4F00-9FD8-62F8EF064972}" presName="sibTrans" presStyleCnt="0"/>
      <dgm:spPr/>
    </dgm:pt>
    <dgm:pt modelId="{DDC9CA2D-FC67-4DC2-B5A5-3B152F626D14}" type="pres">
      <dgm:prSet presAssocID="{A478DAF0-3D76-4FA5-8B8B-A7FD1E132952}" presName="composite" presStyleCnt="0"/>
      <dgm:spPr/>
    </dgm:pt>
    <dgm:pt modelId="{B899231D-47C3-41DA-A9A6-450B87AC6A3B}" type="pres">
      <dgm:prSet presAssocID="{A478DAF0-3D76-4FA5-8B8B-A7FD1E132952}" presName="ParentText" presStyleLbl="node1" presStyleIdx="3" presStyleCnt="7" custScaleX="119758" custScaleY="204947">
        <dgm:presLayoutVars>
          <dgm:chMax val="1"/>
          <dgm:chPref val="1"/>
          <dgm:bulletEnabled val="1"/>
        </dgm:presLayoutVars>
      </dgm:prSet>
      <dgm:spPr/>
    </dgm:pt>
    <dgm:pt modelId="{1DCEC446-2BE2-47EE-BD4D-2A7A7CE4C84A}" type="pres">
      <dgm:prSet presAssocID="{A478DAF0-3D76-4FA5-8B8B-A7FD1E132952}" presName="Image" presStyleLbl="bgImgPlace1" presStyleIdx="3" presStyleCnt="7" custScaleX="79548"/>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Bar chart with solid fill"/>
        </a:ext>
      </dgm:extLst>
    </dgm:pt>
    <dgm:pt modelId="{3A441FB0-A676-4080-A91D-671F70131F01}" type="pres">
      <dgm:prSet presAssocID="{A478DAF0-3D76-4FA5-8B8B-A7FD1E132952}" presName="ChildText" presStyleLbl="fgAcc1" presStyleIdx="0" presStyleCnt="0">
        <dgm:presLayoutVars>
          <dgm:chMax val="0"/>
          <dgm:chPref val="0"/>
          <dgm:bulletEnabled val="1"/>
        </dgm:presLayoutVars>
      </dgm:prSet>
      <dgm:spPr/>
    </dgm:pt>
    <dgm:pt modelId="{DD43E37B-ED92-4849-BBC7-57EA7EEAE721}" type="pres">
      <dgm:prSet presAssocID="{B7F4DA74-59AD-4E08-8720-CA5B385B4BBA}" presName="sibTrans" presStyleCnt="0"/>
      <dgm:spPr/>
    </dgm:pt>
    <dgm:pt modelId="{189DFE3B-A8E9-455B-AE81-2C7D0C000C10}" type="pres">
      <dgm:prSet presAssocID="{D53CD35D-618D-43C6-91F2-13D8A7E73A85}" presName="composite" presStyleCnt="0"/>
      <dgm:spPr/>
    </dgm:pt>
    <dgm:pt modelId="{B8514DEF-32B1-4D58-A809-D106967B1A7A}" type="pres">
      <dgm:prSet presAssocID="{D53CD35D-618D-43C6-91F2-13D8A7E73A85}" presName="ParentText" presStyleLbl="node1" presStyleIdx="4" presStyleCnt="7" custScaleX="119758" custScaleY="204947">
        <dgm:presLayoutVars>
          <dgm:chMax val="1"/>
          <dgm:chPref val="1"/>
          <dgm:bulletEnabled val="1"/>
        </dgm:presLayoutVars>
      </dgm:prSet>
      <dgm:spPr/>
    </dgm:pt>
    <dgm:pt modelId="{5B39A79B-37BE-4D66-A957-EBD1E4DCCBC7}" type="pres">
      <dgm:prSet presAssocID="{D53CD35D-618D-43C6-91F2-13D8A7E73A85}" presName="Image" presStyleLbl="bgImgPlace1" presStyleIdx="4" presStyleCnt="7" custScaleX="79548"/>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Group with solid fill"/>
        </a:ext>
      </dgm:extLst>
    </dgm:pt>
    <dgm:pt modelId="{F726BAB3-29D6-4D44-85AC-4B4CBAA09ED6}" type="pres">
      <dgm:prSet presAssocID="{D53CD35D-618D-43C6-91F2-13D8A7E73A85}" presName="ChildText" presStyleLbl="fgAcc1" presStyleIdx="0" presStyleCnt="0">
        <dgm:presLayoutVars>
          <dgm:chMax val="0"/>
          <dgm:chPref val="0"/>
          <dgm:bulletEnabled val="1"/>
        </dgm:presLayoutVars>
      </dgm:prSet>
      <dgm:spPr/>
    </dgm:pt>
    <dgm:pt modelId="{C5C71F24-5C73-4623-BBF9-CBAB5D159D28}" type="pres">
      <dgm:prSet presAssocID="{99A0BF64-CEAF-4CC6-B57C-219B5A54F2C0}" presName="sibTrans" presStyleCnt="0"/>
      <dgm:spPr/>
    </dgm:pt>
    <dgm:pt modelId="{AD50E3C2-4D33-42FC-9E1E-868C499975C6}" type="pres">
      <dgm:prSet presAssocID="{F7FF1C9E-4AF7-4B86-B416-D5FD94CD6E56}" presName="composite" presStyleCnt="0"/>
      <dgm:spPr/>
    </dgm:pt>
    <dgm:pt modelId="{1C6805BC-D547-406A-952B-DAF07E6BC383}" type="pres">
      <dgm:prSet presAssocID="{F7FF1C9E-4AF7-4B86-B416-D5FD94CD6E56}" presName="ParentText" presStyleLbl="node1" presStyleIdx="5" presStyleCnt="7" custScaleX="119758" custScaleY="204947">
        <dgm:presLayoutVars>
          <dgm:chMax val="1"/>
          <dgm:chPref val="1"/>
          <dgm:bulletEnabled val="1"/>
        </dgm:presLayoutVars>
      </dgm:prSet>
      <dgm:spPr/>
    </dgm:pt>
    <dgm:pt modelId="{A05E6AFE-9AA7-4CDA-AC7A-7736C3C24760}" type="pres">
      <dgm:prSet presAssocID="{F7FF1C9E-4AF7-4B86-B416-D5FD94CD6E56}" presName="Image" presStyleLbl="bgImgPlace1" presStyleIdx="5" presStyleCnt="7" custScaleX="79548"/>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Folder Search with solid fill"/>
        </a:ext>
      </dgm:extLst>
    </dgm:pt>
    <dgm:pt modelId="{B31B00BC-FF1C-4349-8B5F-AF7F166085E2}" type="pres">
      <dgm:prSet presAssocID="{F7FF1C9E-4AF7-4B86-B416-D5FD94CD6E56}" presName="ChildText" presStyleLbl="fgAcc1" presStyleIdx="0" presStyleCnt="0">
        <dgm:presLayoutVars>
          <dgm:chMax val="0"/>
          <dgm:chPref val="0"/>
          <dgm:bulletEnabled val="1"/>
        </dgm:presLayoutVars>
      </dgm:prSet>
      <dgm:spPr/>
    </dgm:pt>
    <dgm:pt modelId="{D9D76603-FA58-4746-8C4D-341258E00563}" type="pres">
      <dgm:prSet presAssocID="{930D49DF-CE10-42DA-8C28-9C5485A8D1CA}" presName="sibTrans" presStyleCnt="0"/>
      <dgm:spPr/>
    </dgm:pt>
    <dgm:pt modelId="{5702BBD8-4DA6-4198-8090-06FA30158D56}" type="pres">
      <dgm:prSet presAssocID="{85EA985E-7985-46C4-A3B4-B3F1E0D7E72D}" presName="composite" presStyleCnt="0"/>
      <dgm:spPr/>
    </dgm:pt>
    <dgm:pt modelId="{535D13B0-7AFD-4B6D-95CC-DD74F0F28660}" type="pres">
      <dgm:prSet presAssocID="{85EA985E-7985-46C4-A3B4-B3F1E0D7E72D}" presName="ParentText" presStyleLbl="node1" presStyleIdx="6" presStyleCnt="7" custScaleX="119758" custScaleY="204947">
        <dgm:presLayoutVars>
          <dgm:chMax val="1"/>
          <dgm:chPref val="1"/>
          <dgm:bulletEnabled val="1"/>
        </dgm:presLayoutVars>
      </dgm:prSet>
      <dgm:spPr/>
    </dgm:pt>
    <dgm:pt modelId="{465AA658-15B3-43D2-ABEE-B215931A76BA}" type="pres">
      <dgm:prSet presAssocID="{85EA985E-7985-46C4-A3B4-B3F1E0D7E72D}" presName="Image" presStyleLbl="bgImgPlace1" presStyleIdx="6" presStyleCnt="7" custScaleX="79548"/>
      <dgm:spPr>
        <a:blipFill>
          <a:blip xmlns:r="http://schemas.openxmlformats.org/officeDocument/2006/relationships" r:embed="rId13">
            <a:extLst>
              <a:ext uri="{96DAC541-7B7A-43D3-8B79-37D633B846F1}">
                <asvg:svgBlip xmlns:asvg="http://schemas.microsoft.com/office/drawing/2016/SVG/main" r:embed="rId14"/>
              </a:ext>
            </a:extLst>
          </a:blip>
          <a:srcRect/>
          <a:stretch>
            <a:fillRect/>
          </a:stretch>
        </a:blipFill>
      </dgm:spPr>
      <dgm:extLst>
        <a:ext uri="{E40237B7-FDA0-4F09-8148-C483321AD2D9}">
          <dgm14:cNvPr xmlns:dgm14="http://schemas.microsoft.com/office/drawing/2010/diagram" id="0" name="" descr="Tools with solid fill"/>
        </a:ext>
      </dgm:extLst>
    </dgm:pt>
    <dgm:pt modelId="{708A2919-7553-4D3C-9003-C6D51EBE2256}" type="pres">
      <dgm:prSet presAssocID="{85EA985E-7985-46C4-A3B4-B3F1E0D7E72D}" presName="ChildText" presStyleLbl="fgAcc1" presStyleIdx="0" presStyleCnt="0">
        <dgm:presLayoutVars>
          <dgm:chMax val="0"/>
          <dgm:chPref val="0"/>
          <dgm:bulletEnabled val="1"/>
        </dgm:presLayoutVars>
      </dgm:prSet>
      <dgm:spPr/>
    </dgm:pt>
  </dgm:ptLst>
  <dgm:cxnLst>
    <dgm:cxn modelId="{42EAE520-FC8C-4D99-A4FF-D2E7100363F9}" srcId="{05889F33-5C7D-4962-AFA3-26814DF33007}" destId="{17F8C864-7F5E-4654-8B7A-0225516F7513}" srcOrd="0" destOrd="0" parTransId="{EE068FE6-4D7F-42DA-8D15-815BDB67A63E}" sibTransId="{B9E84819-A2A0-4BD7-BC5B-FD32B5CB7E21}"/>
    <dgm:cxn modelId="{56E7C73F-416D-4B73-8351-F84FBE495616}" srcId="{05889F33-5C7D-4962-AFA3-26814DF33007}" destId="{F7FF1C9E-4AF7-4B86-B416-D5FD94CD6E56}" srcOrd="5" destOrd="0" parTransId="{01576F41-D817-4E26-844F-1AE4660123C5}" sibTransId="{930D49DF-CE10-42DA-8C28-9C5485A8D1CA}"/>
    <dgm:cxn modelId="{A6E6B65C-ED04-471C-A8DB-97EB0BC11CE1}" type="presOf" srcId="{85EA985E-7985-46C4-A3B4-B3F1E0D7E72D}" destId="{535D13B0-7AFD-4B6D-95CC-DD74F0F28660}" srcOrd="0" destOrd="0" presId="urn:microsoft.com/office/officeart/2008/layout/TitledPictureBlocks"/>
    <dgm:cxn modelId="{8ACB6F64-4F31-4C51-ABA9-5007949DECC2}" type="presOf" srcId="{17F8C864-7F5E-4654-8B7A-0225516F7513}" destId="{018BDB7C-1BA6-4B80-BC24-4EF58FCB5549}" srcOrd="0" destOrd="0" presId="urn:microsoft.com/office/officeart/2008/layout/TitledPictureBlocks"/>
    <dgm:cxn modelId="{AE4CFB47-3CC2-43B4-8F1D-EC2A96A18984}" srcId="{05889F33-5C7D-4962-AFA3-26814DF33007}" destId="{85EA985E-7985-46C4-A3B4-B3F1E0D7E72D}" srcOrd="6" destOrd="0" parTransId="{E86360F6-C40E-49D9-9D5A-24FBBB567EF7}" sibTransId="{475B7AD5-AAD9-4B88-A93E-7A65F2C03C51}"/>
    <dgm:cxn modelId="{5978A348-CF19-4183-9994-0BFAC39BDD27}" type="presOf" srcId="{05889F33-5C7D-4962-AFA3-26814DF33007}" destId="{43135B02-5EFD-41C2-9BB9-F038EF990526}" srcOrd="0" destOrd="0" presId="urn:microsoft.com/office/officeart/2008/layout/TitledPictureBlocks"/>
    <dgm:cxn modelId="{63B6C54E-16D2-47DD-96D0-2EE0A222CB3E}" srcId="{05889F33-5C7D-4962-AFA3-26814DF33007}" destId="{D53CD35D-618D-43C6-91F2-13D8A7E73A85}" srcOrd="4" destOrd="0" parTransId="{104E6580-D6EC-4E30-BDFE-053522936781}" sibTransId="{99A0BF64-CEAF-4CC6-B57C-219B5A54F2C0}"/>
    <dgm:cxn modelId="{EF924E7E-43F0-4E8E-B899-D737FBFED31C}" type="presOf" srcId="{1D26F471-4B92-442B-9884-20B7276BF8AB}" destId="{B23B4DEE-E35A-4371-9716-30447B44A49F}" srcOrd="0" destOrd="0" presId="urn:microsoft.com/office/officeart/2008/layout/TitledPictureBlocks"/>
    <dgm:cxn modelId="{9BBF0A94-0FDA-4BAE-B9A3-41B7823CD0CC}" srcId="{05889F33-5C7D-4962-AFA3-26814DF33007}" destId="{1230550B-0816-4B53-B74E-9D412A1E2DB5}" srcOrd="2" destOrd="0" parTransId="{A4729499-50DD-4973-B4C8-E25F561A30C0}" sibTransId="{95468C2B-7ABF-4F00-9FD8-62F8EF064972}"/>
    <dgm:cxn modelId="{38BE879F-11AB-4285-848E-A422921427F6}" type="presOf" srcId="{1230550B-0816-4B53-B74E-9D412A1E2DB5}" destId="{3109ECDA-4DBD-4D24-8B47-33621DCD5063}" srcOrd="0" destOrd="0" presId="urn:microsoft.com/office/officeart/2008/layout/TitledPictureBlocks"/>
    <dgm:cxn modelId="{069531BA-249B-4A56-B8A6-8A6483992C00}" srcId="{05889F33-5C7D-4962-AFA3-26814DF33007}" destId="{A478DAF0-3D76-4FA5-8B8B-A7FD1E132952}" srcOrd="3" destOrd="0" parTransId="{65A9877B-5A4D-44CC-8080-4AEE9C1C7EDC}" sibTransId="{B7F4DA74-59AD-4E08-8720-CA5B385B4BBA}"/>
    <dgm:cxn modelId="{BF5FCABC-8739-42A1-AD05-104074F5D0C2}" srcId="{05889F33-5C7D-4962-AFA3-26814DF33007}" destId="{1D26F471-4B92-442B-9884-20B7276BF8AB}" srcOrd="1" destOrd="0" parTransId="{AD74F950-D281-4FC5-8960-53995B6D2896}" sibTransId="{CA24667D-2CBB-4E71-AE94-996113295C11}"/>
    <dgm:cxn modelId="{56E2F6E1-7462-4A7A-8B51-D87B3288FA3B}" type="presOf" srcId="{F7FF1C9E-4AF7-4B86-B416-D5FD94CD6E56}" destId="{1C6805BC-D547-406A-952B-DAF07E6BC383}" srcOrd="0" destOrd="0" presId="urn:microsoft.com/office/officeart/2008/layout/TitledPictureBlocks"/>
    <dgm:cxn modelId="{88436EEA-B6A2-4283-823F-AD3EFD1C41C8}" type="presOf" srcId="{A478DAF0-3D76-4FA5-8B8B-A7FD1E132952}" destId="{B899231D-47C3-41DA-A9A6-450B87AC6A3B}" srcOrd="0" destOrd="0" presId="urn:microsoft.com/office/officeart/2008/layout/TitledPictureBlocks"/>
    <dgm:cxn modelId="{05233CF4-69A2-4091-A1B2-8B1EF84EB170}" type="presOf" srcId="{D53CD35D-618D-43C6-91F2-13D8A7E73A85}" destId="{B8514DEF-32B1-4D58-A809-D106967B1A7A}" srcOrd="0" destOrd="0" presId="urn:microsoft.com/office/officeart/2008/layout/TitledPictureBlocks"/>
    <dgm:cxn modelId="{51F0F042-EC9E-4D0F-8F3F-D5091F7BFBA5}" type="presParOf" srcId="{43135B02-5EFD-41C2-9BB9-F038EF990526}" destId="{41F35791-AB16-4290-9A68-0A05237C15A6}" srcOrd="0" destOrd="0" presId="urn:microsoft.com/office/officeart/2008/layout/TitledPictureBlocks"/>
    <dgm:cxn modelId="{F32BB9CD-622B-43A1-84A9-E572E4224D2D}" type="presParOf" srcId="{41F35791-AB16-4290-9A68-0A05237C15A6}" destId="{018BDB7C-1BA6-4B80-BC24-4EF58FCB5549}" srcOrd="0" destOrd="0" presId="urn:microsoft.com/office/officeart/2008/layout/TitledPictureBlocks"/>
    <dgm:cxn modelId="{2C411EA3-5445-482A-A56D-8397FD566DBA}" type="presParOf" srcId="{41F35791-AB16-4290-9A68-0A05237C15A6}" destId="{34B995B7-4CD9-4E7E-BB01-00CA6EE9F47E}" srcOrd="1" destOrd="0" presId="urn:microsoft.com/office/officeart/2008/layout/TitledPictureBlocks"/>
    <dgm:cxn modelId="{3A9673B3-C9AF-49A7-A4A6-A58F5B7F0C7C}" type="presParOf" srcId="{41F35791-AB16-4290-9A68-0A05237C15A6}" destId="{3F236A4E-FD73-47A8-A43D-2C40E1DBB102}" srcOrd="2" destOrd="0" presId="urn:microsoft.com/office/officeart/2008/layout/TitledPictureBlocks"/>
    <dgm:cxn modelId="{F5164E62-B2B8-4891-86AF-C21F2F3F5FF8}" type="presParOf" srcId="{43135B02-5EFD-41C2-9BB9-F038EF990526}" destId="{4024AAEA-2917-4FBF-BF3B-E151D2AC3D4F}" srcOrd="1" destOrd="0" presId="urn:microsoft.com/office/officeart/2008/layout/TitledPictureBlocks"/>
    <dgm:cxn modelId="{6925EA0F-B0E1-4535-8DB4-25292689D863}" type="presParOf" srcId="{43135B02-5EFD-41C2-9BB9-F038EF990526}" destId="{0300FCCC-C342-45ED-A717-12CF63835B48}" srcOrd="2" destOrd="0" presId="urn:microsoft.com/office/officeart/2008/layout/TitledPictureBlocks"/>
    <dgm:cxn modelId="{8D6B3037-185D-45C9-BA0D-1A7270278466}" type="presParOf" srcId="{0300FCCC-C342-45ED-A717-12CF63835B48}" destId="{B23B4DEE-E35A-4371-9716-30447B44A49F}" srcOrd="0" destOrd="0" presId="urn:microsoft.com/office/officeart/2008/layout/TitledPictureBlocks"/>
    <dgm:cxn modelId="{99F54C14-3DEE-48C5-9810-CC8063140383}" type="presParOf" srcId="{0300FCCC-C342-45ED-A717-12CF63835B48}" destId="{9C770FCE-A5AD-4D84-A6A4-5FA8D993A458}" srcOrd="1" destOrd="0" presId="urn:microsoft.com/office/officeart/2008/layout/TitledPictureBlocks"/>
    <dgm:cxn modelId="{F08FE04C-B3C6-4721-A391-5571118DF5D1}" type="presParOf" srcId="{0300FCCC-C342-45ED-A717-12CF63835B48}" destId="{007B4F99-197E-4CB5-8801-729126EFEF40}" srcOrd="2" destOrd="0" presId="urn:microsoft.com/office/officeart/2008/layout/TitledPictureBlocks"/>
    <dgm:cxn modelId="{652F3CFD-73BC-438D-9BD7-8BD92B750063}" type="presParOf" srcId="{43135B02-5EFD-41C2-9BB9-F038EF990526}" destId="{CEC2AE56-A916-48BE-A365-7D58156854C8}" srcOrd="3" destOrd="0" presId="urn:microsoft.com/office/officeart/2008/layout/TitledPictureBlocks"/>
    <dgm:cxn modelId="{27760479-1828-4416-908D-5C84D9B8B973}" type="presParOf" srcId="{43135B02-5EFD-41C2-9BB9-F038EF990526}" destId="{C8971BA3-4117-40C0-B0F3-104A813F1775}" srcOrd="4" destOrd="0" presId="urn:microsoft.com/office/officeart/2008/layout/TitledPictureBlocks"/>
    <dgm:cxn modelId="{F1A3B6B0-6226-4D62-97DC-5F326DB86CAD}" type="presParOf" srcId="{C8971BA3-4117-40C0-B0F3-104A813F1775}" destId="{3109ECDA-4DBD-4D24-8B47-33621DCD5063}" srcOrd="0" destOrd="0" presId="urn:microsoft.com/office/officeart/2008/layout/TitledPictureBlocks"/>
    <dgm:cxn modelId="{DC6D435A-C7AC-4805-AAB0-BAA39143AB8B}" type="presParOf" srcId="{C8971BA3-4117-40C0-B0F3-104A813F1775}" destId="{6B8E77CA-2356-4F53-AB35-06236DDE9C2E}" srcOrd="1" destOrd="0" presId="urn:microsoft.com/office/officeart/2008/layout/TitledPictureBlocks"/>
    <dgm:cxn modelId="{C9873E68-EB93-43CD-85E7-9A27D45A4552}" type="presParOf" srcId="{C8971BA3-4117-40C0-B0F3-104A813F1775}" destId="{FD808EF6-074A-4991-A97F-47B96E8C8A97}" srcOrd="2" destOrd="0" presId="urn:microsoft.com/office/officeart/2008/layout/TitledPictureBlocks"/>
    <dgm:cxn modelId="{F736F2AA-8D41-4CB4-8411-9DF72944D93A}" type="presParOf" srcId="{43135B02-5EFD-41C2-9BB9-F038EF990526}" destId="{67AF19FE-47F0-44FF-9764-ABC6B4F9D97B}" srcOrd="5" destOrd="0" presId="urn:microsoft.com/office/officeart/2008/layout/TitledPictureBlocks"/>
    <dgm:cxn modelId="{2B5C75BD-220C-4ACB-9CAD-0A9A7059B671}" type="presParOf" srcId="{43135B02-5EFD-41C2-9BB9-F038EF990526}" destId="{DDC9CA2D-FC67-4DC2-B5A5-3B152F626D14}" srcOrd="6" destOrd="0" presId="urn:microsoft.com/office/officeart/2008/layout/TitledPictureBlocks"/>
    <dgm:cxn modelId="{3782A12A-DBE7-4AB0-A9B4-6601D1337AA1}" type="presParOf" srcId="{DDC9CA2D-FC67-4DC2-B5A5-3B152F626D14}" destId="{B899231D-47C3-41DA-A9A6-450B87AC6A3B}" srcOrd="0" destOrd="0" presId="urn:microsoft.com/office/officeart/2008/layout/TitledPictureBlocks"/>
    <dgm:cxn modelId="{AD612677-AE75-4B9C-BE44-85C1BD80989B}" type="presParOf" srcId="{DDC9CA2D-FC67-4DC2-B5A5-3B152F626D14}" destId="{1DCEC446-2BE2-47EE-BD4D-2A7A7CE4C84A}" srcOrd="1" destOrd="0" presId="urn:microsoft.com/office/officeart/2008/layout/TitledPictureBlocks"/>
    <dgm:cxn modelId="{BD12A78C-E072-4364-8371-E5F6D53ED6FD}" type="presParOf" srcId="{DDC9CA2D-FC67-4DC2-B5A5-3B152F626D14}" destId="{3A441FB0-A676-4080-A91D-671F70131F01}" srcOrd="2" destOrd="0" presId="urn:microsoft.com/office/officeart/2008/layout/TitledPictureBlocks"/>
    <dgm:cxn modelId="{DAD9EA64-0A72-454D-9B59-B39FA01986C6}" type="presParOf" srcId="{43135B02-5EFD-41C2-9BB9-F038EF990526}" destId="{DD43E37B-ED92-4849-BBC7-57EA7EEAE721}" srcOrd="7" destOrd="0" presId="urn:microsoft.com/office/officeart/2008/layout/TitledPictureBlocks"/>
    <dgm:cxn modelId="{41B46FE2-F1E5-4853-8C83-EC81E87E1F8F}" type="presParOf" srcId="{43135B02-5EFD-41C2-9BB9-F038EF990526}" destId="{189DFE3B-A8E9-455B-AE81-2C7D0C000C10}" srcOrd="8" destOrd="0" presId="urn:microsoft.com/office/officeart/2008/layout/TitledPictureBlocks"/>
    <dgm:cxn modelId="{50A552D4-759D-42EC-A86C-5A9D13B503B8}" type="presParOf" srcId="{189DFE3B-A8E9-455B-AE81-2C7D0C000C10}" destId="{B8514DEF-32B1-4D58-A809-D106967B1A7A}" srcOrd="0" destOrd="0" presId="urn:microsoft.com/office/officeart/2008/layout/TitledPictureBlocks"/>
    <dgm:cxn modelId="{15DD7463-A0EC-4A67-A8C4-45D600E7D57C}" type="presParOf" srcId="{189DFE3B-A8E9-455B-AE81-2C7D0C000C10}" destId="{5B39A79B-37BE-4D66-A957-EBD1E4DCCBC7}" srcOrd="1" destOrd="0" presId="urn:microsoft.com/office/officeart/2008/layout/TitledPictureBlocks"/>
    <dgm:cxn modelId="{453B0C0C-60A3-4BF8-860A-9F0A989B791E}" type="presParOf" srcId="{189DFE3B-A8E9-455B-AE81-2C7D0C000C10}" destId="{F726BAB3-29D6-4D44-85AC-4B4CBAA09ED6}" srcOrd="2" destOrd="0" presId="urn:microsoft.com/office/officeart/2008/layout/TitledPictureBlocks"/>
    <dgm:cxn modelId="{9891E163-0556-45DC-A3F6-1010A5558AFE}" type="presParOf" srcId="{43135B02-5EFD-41C2-9BB9-F038EF990526}" destId="{C5C71F24-5C73-4623-BBF9-CBAB5D159D28}" srcOrd="9" destOrd="0" presId="urn:microsoft.com/office/officeart/2008/layout/TitledPictureBlocks"/>
    <dgm:cxn modelId="{948C4957-96F4-44FB-AF86-3A15851B193F}" type="presParOf" srcId="{43135B02-5EFD-41C2-9BB9-F038EF990526}" destId="{AD50E3C2-4D33-42FC-9E1E-868C499975C6}" srcOrd="10" destOrd="0" presId="urn:microsoft.com/office/officeart/2008/layout/TitledPictureBlocks"/>
    <dgm:cxn modelId="{ADE66776-6F68-46D5-A32F-36B70D80B4C8}" type="presParOf" srcId="{AD50E3C2-4D33-42FC-9E1E-868C499975C6}" destId="{1C6805BC-D547-406A-952B-DAF07E6BC383}" srcOrd="0" destOrd="0" presId="urn:microsoft.com/office/officeart/2008/layout/TitledPictureBlocks"/>
    <dgm:cxn modelId="{B60261FE-9ED5-4659-BCEE-08ADAD451763}" type="presParOf" srcId="{AD50E3C2-4D33-42FC-9E1E-868C499975C6}" destId="{A05E6AFE-9AA7-4CDA-AC7A-7736C3C24760}" srcOrd="1" destOrd="0" presId="urn:microsoft.com/office/officeart/2008/layout/TitledPictureBlocks"/>
    <dgm:cxn modelId="{917B3324-C707-4BEA-8D9A-1C87B6AB0DEB}" type="presParOf" srcId="{AD50E3C2-4D33-42FC-9E1E-868C499975C6}" destId="{B31B00BC-FF1C-4349-8B5F-AF7F166085E2}" srcOrd="2" destOrd="0" presId="urn:microsoft.com/office/officeart/2008/layout/TitledPictureBlocks"/>
    <dgm:cxn modelId="{DE70885F-25E4-44C4-BBA9-1BDBA5B540A4}" type="presParOf" srcId="{43135B02-5EFD-41C2-9BB9-F038EF990526}" destId="{D9D76603-FA58-4746-8C4D-341258E00563}" srcOrd="11" destOrd="0" presId="urn:microsoft.com/office/officeart/2008/layout/TitledPictureBlocks"/>
    <dgm:cxn modelId="{EB47DC72-917C-4967-B265-FE5CB6CCA175}" type="presParOf" srcId="{43135B02-5EFD-41C2-9BB9-F038EF990526}" destId="{5702BBD8-4DA6-4198-8090-06FA30158D56}" srcOrd="12" destOrd="0" presId="urn:microsoft.com/office/officeart/2008/layout/TitledPictureBlocks"/>
    <dgm:cxn modelId="{AD40C0DF-E44E-4216-BA81-481C42913E1F}" type="presParOf" srcId="{5702BBD8-4DA6-4198-8090-06FA30158D56}" destId="{535D13B0-7AFD-4B6D-95CC-DD74F0F28660}" srcOrd="0" destOrd="0" presId="urn:microsoft.com/office/officeart/2008/layout/TitledPictureBlocks"/>
    <dgm:cxn modelId="{E8229756-3FC9-43C0-A07E-5F51D5A9240A}" type="presParOf" srcId="{5702BBD8-4DA6-4198-8090-06FA30158D56}" destId="{465AA658-15B3-43D2-ABEE-B215931A76BA}" srcOrd="1" destOrd="0" presId="urn:microsoft.com/office/officeart/2008/layout/TitledPictureBlocks"/>
    <dgm:cxn modelId="{551927CB-93AC-408E-B38E-7F447EF8E739}" type="presParOf" srcId="{5702BBD8-4DA6-4198-8090-06FA30158D56}" destId="{708A2919-7553-4D3C-9003-C6D51EBE2256}" srcOrd="2" destOrd="0" presId="urn:microsoft.com/office/officeart/2008/layout/Titled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ED0BE5-0BC4-4085-95EC-A07262293C07}" type="doc">
      <dgm:prSet loTypeId="urn:microsoft.com/office/officeart/2005/8/layout/chevron1" loCatId="process" qsTypeId="urn:microsoft.com/office/officeart/2005/8/quickstyle/simple1" qsCatId="simple" csTypeId="urn:microsoft.com/office/officeart/2005/8/colors/colorful1" csCatId="colorful" phldr="1"/>
      <dgm:spPr/>
    </dgm:pt>
    <dgm:pt modelId="{F7AAB0E7-0452-48CE-B44B-FDD526565C35}">
      <dgm:prSet phldrT="[Text]" custT="1"/>
      <dgm:spPr>
        <a:solidFill>
          <a:srgbClr val="381360"/>
        </a:solidFill>
      </dgm:spPr>
      <dgm:t>
        <a:bodyPr/>
        <a:lstStyle/>
        <a:p>
          <a:r>
            <a:rPr lang="en-US" sz="2000" dirty="0"/>
            <a:t>Implementation</a:t>
          </a:r>
        </a:p>
      </dgm:t>
    </dgm:pt>
    <dgm:pt modelId="{228A819E-DD90-4702-9055-B9B3112689FD}" type="parTrans" cxnId="{F28D990C-4BE4-4B29-B440-FDB88D5DBE18}">
      <dgm:prSet/>
      <dgm:spPr/>
      <dgm:t>
        <a:bodyPr/>
        <a:lstStyle/>
        <a:p>
          <a:endParaRPr lang="en-US" sz="1200"/>
        </a:p>
      </dgm:t>
    </dgm:pt>
    <dgm:pt modelId="{92961F4D-9453-4482-A78D-2D8068087535}" type="sibTrans" cxnId="{F28D990C-4BE4-4B29-B440-FDB88D5DBE18}">
      <dgm:prSet/>
      <dgm:spPr/>
      <dgm:t>
        <a:bodyPr/>
        <a:lstStyle/>
        <a:p>
          <a:endParaRPr lang="en-US" sz="1200"/>
        </a:p>
      </dgm:t>
    </dgm:pt>
    <dgm:pt modelId="{C061BF14-62B9-452F-A666-4E4C1FE984BD}">
      <dgm:prSet phldrT="[Text]" custT="1"/>
      <dgm:spPr>
        <a:solidFill>
          <a:schemeClr val="accent2"/>
        </a:solidFill>
      </dgm:spPr>
      <dgm:t>
        <a:bodyPr/>
        <a:lstStyle/>
        <a:p>
          <a:r>
            <a:rPr lang="en-US" sz="2000" dirty="0"/>
            <a:t>Onboarding Staff</a:t>
          </a:r>
        </a:p>
      </dgm:t>
    </dgm:pt>
    <dgm:pt modelId="{F3DAF695-9BC3-4AAB-AA33-D5B7E3F35982}" type="parTrans" cxnId="{0260F919-A500-4DDB-A199-23A45275CF8E}">
      <dgm:prSet/>
      <dgm:spPr/>
      <dgm:t>
        <a:bodyPr/>
        <a:lstStyle/>
        <a:p>
          <a:endParaRPr lang="en-US" sz="1200"/>
        </a:p>
      </dgm:t>
    </dgm:pt>
    <dgm:pt modelId="{2B3A2141-6757-4500-9923-11EBC95A4603}" type="sibTrans" cxnId="{0260F919-A500-4DDB-A199-23A45275CF8E}">
      <dgm:prSet/>
      <dgm:spPr/>
      <dgm:t>
        <a:bodyPr/>
        <a:lstStyle/>
        <a:p>
          <a:endParaRPr lang="en-US" sz="1200"/>
        </a:p>
      </dgm:t>
    </dgm:pt>
    <dgm:pt modelId="{137A56C1-4CA4-4A5C-8840-12BD3CBC235A}">
      <dgm:prSet phldrT="[Text]" custT="1"/>
      <dgm:spPr>
        <a:solidFill>
          <a:schemeClr val="accent3"/>
        </a:solidFill>
      </dgm:spPr>
      <dgm:t>
        <a:bodyPr/>
        <a:lstStyle/>
        <a:p>
          <a:r>
            <a:rPr lang="en-US" sz="2000" dirty="0"/>
            <a:t>Ongoing Management &amp; Maintenance</a:t>
          </a:r>
        </a:p>
      </dgm:t>
    </dgm:pt>
    <dgm:pt modelId="{F3E7A1B2-5EA3-4474-A981-A32F6CE7DCCA}" type="parTrans" cxnId="{9A74ED9B-48F6-4CCE-A581-3D521965431E}">
      <dgm:prSet/>
      <dgm:spPr/>
      <dgm:t>
        <a:bodyPr/>
        <a:lstStyle/>
        <a:p>
          <a:endParaRPr lang="en-US" sz="1200"/>
        </a:p>
      </dgm:t>
    </dgm:pt>
    <dgm:pt modelId="{041E62BD-6AD4-4772-A90D-6B4F18F998E2}" type="sibTrans" cxnId="{9A74ED9B-48F6-4CCE-A581-3D521965431E}">
      <dgm:prSet/>
      <dgm:spPr/>
      <dgm:t>
        <a:bodyPr/>
        <a:lstStyle/>
        <a:p>
          <a:endParaRPr lang="en-US" sz="1200"/>
        </a:p>
      </dgm:t>
    </dgm:pt>
    <dgm:pt modelId="{BFF7A419-FD46-4E6F-88C3-095213993B06}" type="pres">
      <dgm:prSet presAssocID="{9DED0BE5-0BC4-4085-95EC-A07262293C07}" presName="Name0" presStyleCnt="0">
        <dgm:presLayoutVars>
          <dgm:dir/>
          <dgm:animLvl val="lvl"/>
          <dgm:resizeHandles val="exact"/>
        </dgm:presLayoutVars>
      </dgm:prSet>
      <dgm:spPr/>
    </dgm:pt>
    <dgm:pt modelId="{38A14320-EC09-4E8B-BBB2-D94225E04CB2}" type="pres">
      <dgm:prSet presAssocID="{F7AAB0E7-0452-48CE-B44B-FDD526565C35}" presName="parTxOnly" presStyleLbl="node1" presStyleIdx="0" presStyleCnt="3" custScaleX="54056">
        <dgm:presLayoutVars>
          <dgm:chMax val="0"/>
          <dgm:chPref val="0"/>
          <dgm:bulletEnabled val="1"/>
        </dgm:presLayoutVars>
      </dgm:prSet>
      <dgm:spPr/>
    </dgm:pt>
    <dgm:pt modelId="{045C52CD-1D34-4D79-A958-ED5C34CACD66}" type="pres">
      <dgm:prSet presAssocID="{92961F4D-9453-4482-A78D-2D8068087535}" presName="parTxOnlySpace" presStyleCnt="0"/>
      <dgm:spPr/>
    </dgm:pt>
    <dgm:pt modelId="{EF19D3FE-311E-4599-918C-1F17A31DB8FD}" type="pres">
      <dgm:prSet presAssocID="{C061BF14-62B9-452F-A666-4E4C1FE984BD}" presName="parTxOnly" presStyleLbl="node1" presStyleIdx="1" presStyleCnt="3" custScaleX="59853">
        <dgm:presLayoutVars>
          <dgm:chMax val="0"/>
          <dgm:chPref val="0"/>
          <dgm:bulletEnabled val="1"/>
        </dgm:presLayoutVars>
      </dgm:prSet>
      <dgm:spPr/>
    </dgm:pt>
    <dgm:pt modelId="{6204B07E-6427-4D5D-B01E-19875E21F58C}" type="pres">
      <dgm:prSet presAssocID="{2B3A2141-6757-4500-9923-11EBC95A4603}" presName="parTxOnlySpace" presStyleCnt="0"/>
      <dgm:spPr/>
    </dgm:pt>
    <dgm:pt modelId="{25DD1BDF-164C-4EF2-8E5E-ABF7E61481A8}" type="pres">
      <dgm:prSet presAssocID="{137A56C1-4CA4-4A5C-8840-12BD3CBC235A}" presName="parTxOnly" presStyleLbl="node1" presStyleIdx="2" presStyleCnt="3">
        <dgm:presLayoutVars>
          <dgm:chMax val="0"/>
          <dgm:chPref val="0"/>
          <dgm:bulletEnabled val="1"/>
        </dgm:presLayoutVars>
      </dgm:prSet>
      <dgm:spPr/>
    </dgm:pt>
  </dgm:ptLst>
  <dgm:cxnLst>
    <dgm:cxn modelId="{F28D990C-4BE4-4B29-B440-FDB88D5DBE18}" srcId="{9DED0BE5-0BC4-4085-95EC-A07262293C07}" destId="{F7AAB0E7-0452-48CE-B44B-FDD526565C35}" srcOrd="0" destOrd="0" parTransId="{228A819E-DD90-4702-9055-B9B3112689FD}" sibTransId="{92961F4D-9453-4482-A78D-2D8068087535}"/>
    <dgm:cxn modelId="{0260F919-A500-4DDB-A199-23A45275CF8E}" srcId="{9DED0BE5-0BC4-4085-95EC-A07262293C07}" destId="{C061BF14-62B9-452F-A666-4E4C1FE984BD}" srcOrd="1" destOrd="0" parTransId="{F3DAF695-9BC3-4AAB-AA33-D5B7E3F35982}" sibTransId="{2B3A2141-6757-4500-9923-11EBC95A4603}"/>
    <dgm:cxn modelId="{1ED8ED1F-39A5-42C4-9002-D150C0962147}" type="presOf" srcId="{9DED0BE5-0BC4-4085-95EC-A07262293C07}" destId="{BFF7A419-FD46-4E6F-88C3-095213993B06}" srcOrd="0" destOrd="0" presId="urn:microsoft.com/office/officeart/2005/8/layout/chevron1"/>
    <dgm:cxn modelId="{3527F052-15BB-4259-B4A7-91E839AAE382}" type="presOf" srcId="{137A56C1-4CA4-4A5C-8840-12BD3CBC235A}" destId="{25DD1BDF-164C-4EF2-8E5E-ABF7E61481A8}" srcOrd="0" destOrd="0" presId="urn:microsoft.com/office/officeart/2005/8/layout/chevron1"/>
    <dgm:cxn modelId="{9A74ED9B-48F6-4CCE-A581-3D521965431E}" srcId="{9DED0BE5-0BC4-4085-95EC-A07262293C07}" destId="{137A56C1-4CA4-4A5C-8840-12BD3CBC235A}" srcOrd="2" destOrd="0" parTransId="{F3E7A1B2-5EA3-4474-A981-A32F6CE7DCCA}" sibTransId="{041E62BD-6AD4-4772-A90D-6B4F18F998E2}"/>
    <dgm:cxn modelId="{A19C53CD-D5B2-49DF-890B-22B70B4C88A2}" type="presOf" srcId="{F7AAB0E7-0452-48CE-B44B-FDD526565C35}" destId="{38A14320-EC09-4E8B-BBB2-D94225E04CB2}" srcOrd="0" destOrd="0" presId="urn:microsoft.com/office/officeart/2005/8/layout/chevron1"/>
    <dgm:cxn modelId="{8ECE22F0-AB4C-4F4E-A120-74C5E7D94B7E}" type="presOf" srcId="{C061BF14-62B9-452F-A666-4E4C1FE984BD}" destId="{EF19D3FE-311E-4599-918C-1F17A31DB8FD}" srcOrd="0" destOrd="0" presId="urn:microsoft.com/office/officeart/2005/8/layout/chevron1"/>
    <dgm:cxn modelId="{DFE34AEE-A548-438D-8B37-2D13DA74B87D}" type="presParOf" srcId="{BFF7A419-FD46-4E6F-88C3-095213993B06}" destId="{38A14320-EC09-4E8B-BBB2-D94225E04CB2}" srcOrd="0" destOrd="0" presId="urn:microsoft.com/office/officeart/2005/8/layout/chevron1"/>
    <dgm:cxn modelId="{F767C649-4A22-49E5-8041-F0BFD0941E0C}" type="presParOf" srcId="{BFF7A419-FD46-4E6F-88C3-095213993B06}" destId="{045C52CD-1D34-4D79-A958-ED5C34CACD66}" srcOrd="1" destOrd="0" presId="urn:microsoft.com/office/officeart/2005/8/layout/chevron1"/>
    <dgm:cxn modelId="{D00E107F-C590-4E51-BE4F-12FE3212C248}" type="presParOf" srcId="{BFF7A419-FD46-4E6F-88C3-095213993B06}" destId="{EF19D3FE-311E-4599-918C-1F17A31DB8FD}" srcOrd="2" destOrd="0" presId="urn:microsoft.com/office/officeart/2005/8/layout/chevron1"/>
    <dgm:cxn modelId="{7BC37037-40BB-4B56-8B70-A493843CC4E2}" type="presParOf" srcId="{BFF7A419-FD46-4E6F-88C3-095213993B06}" destId="{6204B07E-6427-4D5D-B01E-19875E21F58C}" srcOrd="3" destOrd="0" presId="urn:microsoft.com/office/officeart/2005/8/layout/chevron1"/>
    <dgm:cxn modelId="{6107E008-8876-4BDC-8ECC-FEB1A575F6C7}" type="presParOf" srcId="{BFF7A419-FD46-4E6F-88C3-095213993B06}" destId="{25DD1BDF-164C-4EF2-8E5E-ABF7E61481A8}"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B4CCE57-611E-4F9F-8BB2-0308FADD413F}" type="doc">
      <dgm:prSet loTypeId="urn:microsoft.com/office/officeart/2005/8/layout/pyramid3" loCatId="pyramid" qsTypeId="urn:microsoft.com/office/officeart/2005/8/quickstyle/simple1" qsCatId="simple" csTypeId="urn:microsoft.com/office/officeart/2005/8/colors/colorful1" csCatId="colorful" phldr="1"/>
      <dgm:spPr/>
    </dgm:pt>
    <dgm:pt modelId="{1FC90D45-0225-453B-AB35-E0435026CF2E}">
      <dgm:prSet phldrT="[Text]" custT="1"/>
      <dgm:spPr>
        <a:solidFill>
          <a:schemeClr val="accent1"/>
        </a:solidFill>
      </dgm:spPr>
      <dgm:t>
        <a:bodyPr/>
        <a:lstStyle/>
        <a:p>
          <a:r>
            <a:rPr lang="en-US" sz="2000" dirty="0">
              <a:solidFill>
                <a:schemeClr val="bg1"/>
              </a:solidFill>
            </a:rPr>
            <a:t>Administrators</a:t>
          </a:r>
        </a:p>
      </dgm:t>
    </dgm:pt>
    <dgm:pt modelId="{56F4DA3F-74A9-4115-88AC-84F318620A9C}" type="parTrans" cxnId="{F13236FC-D2EF-4D38-AC1B-ED2D1A3EFA30}">
      <dgm:prSet/>
      <dgm:spPr/>
      <dgm:t>
        <a:bodyPr/>
        <a:lstStyle/>
        <a:p>
          <a:endParaRPr lang="en-US" sz="1600">
            <a:solidFill>
              <a:schemeClr val="bg1"/>
            </a:solidFill>
          </a:endParaRPr>
        </a:p>
      </dgm:t>
    </dgm:pt>
    <dgm:pt modelId="{17B40DC5-00E0-4D9D-8F69-FE8CF46DCEC6}" type="sibTrans" cxnId="{F13236FC-D2EF-4D38-AC1B-ED2D1A3EFA30}">
      <dgm:prSet/>
      <dgm:spPr/>
      <dgm:t>
        <a:bodyPr/>
        <a:lstStyle/>
        <a:p>
          <a:endParaRPr lang="en-US" sz="1600">
            <a:solidFill>
              <a:schemeClr val="bg1"/>
            </a:solidFill>
          </a:endParaRPr>
        </a:p>
      </dgm:t>
    </dgm:pt>
    <dgm:pt modelId="{8E8E23CF-9ADC-4C3F-A8F8-A3DF3CA3B4AE}">
      <dgm:prSet phldrT="[Text]" custT="1"/>
      <dgm:spPr>
        <a:solidFill>
          <a:schemeClr val="accent2"/>
        </a:solidFill>
      </dgm:spPr>
      <dgm:t>
        <a:bodyPr/>
        <a:lstStyle/>
        <a:p>
          <a:r>
            <a:rPr lang="en-US" sz="2000" dirty="0">
              <a:solidFill>
                <a:schemeClr val="bg1"/>
              </a:solidFill>
            </a:rPr>
            <a:t>Advanced Access &amp; Site Admins</a:t>
          </a:r>
        </a:p>
      </dgm:t>
    </dgm:pt>
    <dgm:pt modelId="{07F634E4-39E7-4FB4-BF3B-45B95D898450}" type="parTrans" cxnId="{C78E314A-43E1-48D2-AD9D-4365827DA442}">
      <dgm:prSet/>
      <dgm:spPr/>
      <dgm:t>
        <a:bodyPr/>
        <a:lstStyle/>
        <a:p>
          <a:endParaRPr lang="en-US" sz="1600">
            <a:solidFill>
              <a:schemeClr val="bg1"/>
            </a:solidFill>
          </a:endParaRPr>
        </a:p>
      </dgm:t>
    </dgm:pt>
    <dgm:pt modelId="{48375584-61E9-45F4-A570-5851D1CB01EF}" type="sibTrans" cxnId="{C78E314A-43E1-48D2-AD9D-4365827DA442}">
      <dgm:prSet/>
      <dgm:spPr/>
      <dgm:t>
        <a:bodyPr/>
        <a:lstStyle/>
        <a:p>
          <a:endParaRPr lang="en-US" sz="1600">
            <a:solidFill>
              <a:schemeClr val="bg1"/>
            </a:solidFill>
          </a:endParaRPr>
        </a:p>
      </dgm:t>
    </dgm:pt>
    <dgm:pt modelId="{EA88FAAA-44FA-4EA9-AD07-9BE057245460}">
      <dgm:prSet phldrT="[Text]" custT="1"/>
      <dgm:spPr>
        <a:solidFill>
          <a:schemeClr val="accent3"/>
        </a:solidFill>
      </dgm:spPr>
      <dgm:t>
        <a:bodyPr anchor="t"/>
        <a:lstStyle/>
        <a:p>
          <a:endParaRPr lang="en-US" sz="1000" dirty="0">
            <a:solidFill>
              <a:schemeClr val="bg1"/>
            </a:solidFill>
          </a:endParaRPr>
        </a:p>
        <a:p>
          <a:r>
            <a:rPr lang="en-US" sz="1800" dirty="0">
              <a:solidFill>
                <a:schemeClr val="bg1"/>
              </a:solidFill>
            </a:rPr>
            <a:t>Standard </a:t>
          </a:r>
          <a:br>
            <a:rPr lang="en-US" sz="1800" dirty="0">
              <a:solidFill>
                <a:schemeClr val="bg1"/>
              </a:solidFill>
            </a:rPr>
          </a:br>
          <a:r>
            <a:rPr lang="en-US" sz="1800" dirty="0">
              <a:solidFill>
                <a:schemeClr val="bg1"/>
              </a:solidFill>
            </a:rPr>
            <a:t>Users</a:t>
          </a:r>
        </a:p>
      </dgm:t>
    </dgm:pt>
    <dgm:pt modelId="{6762DDE3-1D58-4634-879A-31F392FFCA90}" type="parTrans" cxnId="{BD41F4C5-AC70-41F7-A049-5489FF2A92C5}">
      <dgm:prSet/>
      <dgm:spPr/>
      <dgm:t>
        <a:bodyPr/>
        <a:lstStyle/>
        <a:p>
          <a:endParaRPr lang="en-US" sz="1600">
            <a:solidFill>
              <a:schemeClr val="bg1"/>
            </a:solidFill>
          </a:endParaRPr>
        </a:p>
      </dgm:t>
    </dgm:pt>
    <dgm:pt modelId="{D2954306-78E0-4B69-B066-3DBCC9ACC5D7}" type="sibTrans" cxnId="{BD41F4C5-AC70-41F7-A049-5489FF2A92C5}">
      <dgm:prSet/>
      <dgm:spPr/>
      <dgm:t>
        <a:bodyPr/>
        <a:lstStyle/>
        <a:p>
          <a:endParaRPr lang="en-US" sz="1600">
            <a:solidFill>
              <a:schemeClr val="bg1"/>
            </a:solidFill>
          </a:endParaRPr>
        </a:p>
      </dgm:t>
    </dgm:pt>
    <dgm:pt modelId="{9191C1F4-DB08-408B-8D44-1C0B16F4D24E}" type="pres">
      <dgm:prSet presAssocID="{5B4CCE57-611E-4F9F-8BB2-0308FADD413F}" presName="Name0" presStyleCnt="0">
        <dgm:presLayoutVars>
          <dgm:dir/>
          <dgm:animLvl val="lvl"/>
          <dgm:resizeHandles val="exact"/>
        </dgm:presLayoutVars>
      </dgm:prSet>
      <dgm:spPr/>
    </dgm:pt>
    <dgm:pt modelId="{8FFFD346-275E-4BE8-8FF0-F9559B326BB5}" type="pres">
      <dgm:prSet presAssocID="{1FC90D45-0225-453B-AB35-E0435026CF2E}" presName="Name8" presStyleCnt="0"/>
      <dgm:spPr/>
    </dgm:pt>
    <dgm:pt modelId="{3AAE44D7-FCD9-4E80-99F4-6AC5FAC0EDA3}" type="pres">
      <dgm:prSet presAssocID="{1FC90D45-0225-453B-AB35-E0435026CF2E}" presName="level" presStyleLbl="node1" presStyleIdx="0" presStyleCnt="3" custLinFactNeighborX="-3022" custLinFactNeighborY="-3049">
        <dgm:presLayoutVars>
          <dgm:chMax val="1"/>
          <dgm:bulletEnabled val="1"/>
        </dgm:presLayoutVars>
      </dgm:prSet>
      <dgm:spPr/>
    </dgm:pt>
    <dgm:pt modelId="{07AE7FA8-23D6-436A-A079-90185559A412}" type="pres">
      <dgm:prSet presAssocID="{1FC90D45-0225-453B-AB35-E0435026CF2E}" presName="levelTx" presStyleLbl="revTx" presStyleIdx="0" presStyleCnt="0">
        <dgm:presLayoutVars>
          <dgm:chMax val="1"/>
          <dgm:bulletEnabled val="1"/>
        </dgm:presLayoutVars>
      </dgm:prSet>
      <dgm:spPr/>
    </dgm:pt>
    <dgm:pt modelId="{8126F307-AF81-4CFC-B601-FE81298215F0}" type="pres">
      <dgm:prSet presAssocID="{8E8E23CF-9ADC-4C3F-A8F8-A3DF3CA3B4AE}" presName="Name8" presStyleCnt="0"/>
      <dgm:spPr/>
    </dgm:pt>
    <dgm:pt modelId="{F7566767-6094-47A2-8585-436B7EE19E84}" type="pres">
      <dgm:prSet presAssocID="{8E8E23CF-9ADC-4C3F-A8F8-A3DF3CA3B4AE}" presName="level" presStyleLbl="node1" presStyleIdx="1" presStyleCnt="3">
        <dgm:presLayoutVars>
          <dgm:chMax val="1"/>
          <dgm:bulletEnabled val="1"/>
        </dgm:presLayoutVars>
      </dgm:prSet>
      <dgm:spPr/>
    </dgm:pt>
    <dgm:pt modelId="{F0398AEC-88AE-43E2-AE2C-3F950ED38818}" type="pres">
      <dgm:prSet presAssocID="{8E8E23CF-9ADC-4C3F-A8F8-A3DF3CA3B4AE}" presName="levelTx" presStyleLbl="revTx" presStyleIdx="0" presStyleCnt="0">
        <dgm:presLayoutVars>
          <dgm:chMax val="1"/>
          <dgm:bulletEnabled val="1"/>
        </dgm:presLayoutVars>
      </dgm:prSet>
      <dgm:spPr/>
    </dgm:pt>
    <dgm:pt modelId="{54703593-1403-4873-8D0C-3055FB6AD717}" type="pres">
      <dgm:prSet presAssocID="{EA88FAAA-44FA-4EA9-AD07-9BE057245460}" presName="Name8" presStyleCnt="0"/>
      <dgm:spPr/>
    </dgm:pt>
    <dgm:pt modelId="{C448F597-BB7C-4B04-B2AA-A3627512097B}" type="pres">
      <dgm:prSet presAssocID="{EA88FAAA-44FA-4EA9-AD07-9BE057245460}" presName="level" presStyleLbl="node1" presStyleIdx="2" presStyleCnt="3">
        <dgm:presLayoutVars>
          <dgm:chMax val="1"/>
          <dgm:bulletEnabled val="1"/>
        </dgm:presLayoutVars>
      </dgm:prSet>
      <dgm:spPr/>
    </dgm:pt>
    <dgm:pt modelId="{333119F5-561D-4DDB-A687-323C67830DDC}" type="pres">
      <dgm:prSet presAssocID="{EA88FAAA-44FA-4EA9-AD07-9BE057245460}" presName="levelTx" presStyleLbl="revTx" presStyleIdx="0" presStyleCnt="0">
        <dgm:presLayoutVars>
          <dgm:chMax val="1"/>
          <dgm:bulletEnabled val="1"/>
        </dgm:presLayoutVars>
      </dgm:prSet>
      <dgm:spPr/>
    </dgm:pt>
  </dgm:ptLst>
  <dgm:cxnLst>
    <dgm:cxn modelId="{FDC05C60-A74C-4CA9-A49B-74E90AA6F265}" type="presOf" srcId="{1FC90D45-0225-453B-AB35-E0435026CF2E}" destId="{07AE7FA8-23D6-436A-A079-90185559A412}" srcOrd="1" destOrd="0" presId="urn:microsoft.com/office/officeart/2005/8/layout/pyramid3"/>
    <dgm:cxn modelId="{2A8A0A45-5249-4362-959E-BBCABC837B9C}" type="presOf" srcId="{EA88FAAA-44FA-4EA9-AD07-9BE057245460}" destId="{333119F5-561D-4DDB-A687-323C67830DDC}" srcOrd="1" destOrd="0" presId="urn:microsoft.com/office/officeart/2005/8/layout/pyramid3"/>
    <dgm:cxn modelId="{C78E314A-43E1-48D2-AD9D-4365827DA442}" srcId="{5B4CCE57-611E-4F9F-8BB2-0308FADD413F}" destId="{8E8E23CF-9ADC-4C3F-A8F8-A3DF3CA3B4AE}" srcOrd="1" destOrd="0" parTransId="{07F634E4-39E7-4FB4-BF3B-45B95D898450}" sibTransId="{48375584-61E9-45F4-A570-5851D1CB01EF}"/>
    <dgm:cxn modelId="{11760081-825D-4E90-AEB7-51213C1588A4}" type="presOf" srcId="{EA88FAAA-44FA-4EA9-AD07-9BE057245460}" destId="{C448F597-BB7C-4B04-B2AA-A3627512097B}" srcOrd="0" destOrd="0" presId="urn:microsoft.com/office/officeart/2005/8/layout/pyramid3"/>
    <dgm:cxn modelId="{50C99D83-0EBA-47A3-B88C-0129064B4EC2}" type="presOf" srcId="{1FC90D45-0225-453B-AB35-E0435026CF2E}" destId="{3AAE44D7-FCD9-4E80-99F4-6AC5FAC0EDA3}" srcOrd="0" destOrd="0" presId="urn:microsoft.com/office/officeart/2005/8/layout/pyramid3"/>
    <dgm:cxn modelId="{7425BA94-B7DF-4D5F-BE97-79A4ABAD943A}" type="presOf" srcId="{8E8E23CF-9ADC-4C3F-A8F8-A3DF3CA3B4AE}" destId="{F7566767-6094-47A2-8585-436B7EE19E84}" srcOrd="0" destOrd="0" presId="urn:microsoft.com/office/officeart/2005/8/layout/pyramid3"/>
    <dgm:cxn modelId="{BD41F4C5-AC70-41F7-A049-5489FF2A92C5}" srcId="{5B4CCE57-611E-4F9F-8BB2-0308FADD413F}" destId="{EA88FAAA-44FA-4EA9-AD07-9BE057245460}" srcOrd="2" destOrd="0" parTransId="{6762DDE3-1D58-4634-879A-31F392FFCA90}" sibTransId="{D2954306-78E0-4B69-B066-3DBCC9ACC5D7}"/>
    <dgm:cxn modelId="{CFF40FD7-AFF8-41C3-91A7-A29467734FC5}" type="presOf" srcId="{8E8E23CF-9ADC-4C3F-A8F8-A3DF3CA3B4AE}" destId="{F0398AEC-88AE-43E2-AE2C-3F950ED38818}" srcOrd="1" destOrd="0" presId="urn:microsoft.com/office/officeart/2005/8/layout/pyramid3"/>
    <dgm:cxn modelId="{F13236FC-D2EF-4D38-AC1B-ED2D1A3EFA30}" srcId="{5B4CCE57-611E-4F9F-8BB2-0308FADD413F}" destId="{1FC90D45-0225-453B-AB35-E0435026CF2E}" srcOrd="0" destOrd="0" parTransId="{56F4DA3F-74A9-4115-88AC-84F318620A9C}" sibTransId="{17B40DC5-00E0-4D9D-8F69-FE8CF46DCEC6}"/>
    <dgm:cxn modelId="{2131DFFC-3D65-4ACD-9E3E-CB1E48A0247B}" type="presOf" srcId="{5B4CCE57-611E-4F9F-8BB2-0308FADD413F}" destId="{9191C1F4-DB08-408B-8D44-1C0B16F4D24E}" srcOrd="0" destOrd="0" presId="urn:microsoft.com/office/officeart/2005/8/layout/pyramid3"/>
    <dgm:cxn modelId="{7865EAE4-BF29-4887-B038-EC1FA0D4D6C4}" type="presParOf" srcId="{9191C1F4-DB08-408B-8D44-1C0B16F4D24E}" destId="{8FFFD346-275E-4BE8-8FF0-F9559B326BB5}" srcOrd="0" destOrd="0" presId="urn:microsoft.com/office/officeart/2005/8/layout/pyramid3"/>
    <dgm:cxn modelId="{3F4E2B14-43CE-4AAD-99F0-CEB55C0BDC0D}" type="presParOf" srcId="{8FFFD346-275E-4BE8-8FF0-F9559B326BB5}" destId="{3AAE44D7-FCD9-4E80-99F4-6AC5FAC0EDA3}" srcOrd="0" destOrd="0" presId="urn:microsoft.com/office/officeart/2005/8/layout/pyramid3"/>
    <dgm:cxn modelId="{AAC1F353-C01D-4B8E-84A4-3C6CD27786D0}" type="presParOf" srcId="{8FFFD346-275E-4BE8-8FF0-F9559B326BB5}" destId="{07AE7FA8-23D6-436A-A079-90185559A412}" srcOrd="1" destOrd="0" presId="urn:microsoft.com/office/officeart/2005/8/layout/pyramid3"/>
    <dgm:cxn modelId="{BD342AC8-236B-4BA8-BE3F-DC096B91CBBC}" type="presParOf" srcId="{9191C1F4-DB08-408B-8D44-1C0B16F4D24E}" destId="{8126F307-AF81-4CFC-B601-FE81298215F0}" srcOrd="1" destOrd="0" presId="urn:microsoft.com/office/officeart/2005/8/layout/pyramid3"/>
    <dgm:cxn modelId="{B0B6A6BE-BFD3-47DA-9861-DCF86E22FE60}" type="presParOf" srcId="{8126F307-AF81-4CFC-B601-FE81298215F0}" destId="{F7566767-6094-47A2-8585-436B7EE19E84}" srcOrd="0" destOrd="0" presId="urn:microsoft.com/office/officeart/2005/8/layout/pyramid3"/>
    <dgm:cxn modelId="{43F29256-ADBC-49E0-96EB-80337E5ED3FD}" type="presParOf" srcId="{8126F307-AF81-4CFC-B601-FE81298215F0}" destId="{F0398AEC-88AE-43E2-AE2C-3F950ED38818}" srcOrd="1" destOrd="0" presId="urn:microsoft.com/office/officeart/2005/8/layout/pyramid3"/>
    <dgm:cxn modelId="{E32598DC-488D-446D-B9A4-E3CF4279EC9F}" type="presParOf" srcId="{9191C1F4-DB08-408B-8D44-1C0B16F4D24E}" destId="{54703593-1403-4873-8D0C-3055FB6AD717}" srcOrd="2" destOrd="0" presId="urn:microsoft.com/office/officeart/2005/8/layout/pyramid3"/>
    <dgm:cxn modelId="{34E642DE-3742-49E8-90B7-EBD66106C185}" type="presParOf" srcId="{54703593-1403-4873-8D0C-3055FB6AD717}" destId="{C448F597-BB7C-4B04-B2AA-A3627512097B}" srcOrd="0" destOrd="0" presId="urn:microsoft.com/office/officeart/2005/8/layout/pyramid3"/>
    <dgm:cxn modelId="{BC02F63B-546A-4EDA-A0D4-FB5021DF7820}" type="presParOf" srcId="{54703593-1403-4873-8D0C-3055FB6AD717}" destId="{333119F5-561D-4DDB-A687-323C67830DDC}" srcOrd="1" destOrd="0" presId="urn:microsoft.com/office/officeart/2005/8/layout/pyramid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E89E1B-FFF1-4488-ADCB-5FF05DF78F74}"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7E172D83-970B-4473-881B-D035DB574E6C}">
      <dgm:prSet phldrT="[Text]"/>
      <dgm:spPr/>
      <dgm:t>
        <a:bodyPr/>
        <a:lstStyle/>
        <a:p>
          <a:r>
            <a:rPr lang="en-US" dirty="0"/>
            <a:t>Foundations</a:t>
          </a:r>
        </a:p>
      </dgm:t>
    </dgm:pt>
    <dgm:pt modelId="{453CF26B-EE1F-4686-A1E9-4B7F3B29D535}" type="parTrans" cxnId="{66008136-FAF2-4CB1-B4C1-7641602FDAF2}">
      <dgm:prSet/>
      <dgm:spPr/>
      <dgm:t>
        <a:bodyPr/>
        <a:lstStyle/>
        <a:p>
          <a:endParaRPr lang="en-US"/>
        </a:p>
      </dgm:t>
    </dgm:pt>
    <dgm:pt modelId="{6FD70E90-709E-489F-AEF0-BA2BD3BE155D}" type="sibTrans" cxnId="{66008136-FAF2-4CB1-B4C1-7641602FDAF2}">
      <dgm:prSet/>
      <dgm:spPr/>
      <dgm:t>
        <a:bodyPr/>
        <a:lstStyle/>
        <a:p>
          <a:endParaRPr lang="en-US"/>
        </a:p>
      </dgm:t>
    </dgm:pt>
    <dgm:pt modelId="{7AF48070-DF07-41D3-B6A2-2B72C2D482EA}">
      <dgm:prSet phldrT="[Text]"/>
      <dgm:spPr>
        <a:solidFill>
          <a:schemeClr val="accent2">
            <a:lumMod val="20000"/>
            <a:lumOff val="80000"/>
            <a:alpha val="90000"/>
          </a:schemeClr>
        </a:solidFill>
      </dgm:spPr>
      <dgm:t>
        <a:bodyPr/>
        <a:lstStyle/>
        <a:p>
          <a:r>
            <a:rPr lang="en-US" dirty="0"/>
            <a:t>Apricot Admin Foundations or Labs</a:t>
          </a:r>
        </a:p>
      </dgm:t>
    </dgm:pt>
    <dgm:pt modelId="{72DF10A9-7BDD-43B5-B560-A7BEA1F787A2}" type="parTrans" cxnId="{19FBC9F0-3FB9-48DB-8DD9-F1390AF09F53}">
      <dgm:prSet/>
      <dgm:spPr/>
      <dgm:t>
        <a:bodyPr/>
        <a:lstStyle/>
        <a:p>
          <a:endParaRPr lang="en-US"/>
        </a:p>
      </dgm:t>
    </dgm:pt>
    <dgm:pt modelId="{CD62198F-9BCC-41B6-B4F6-5E59F91FBEF0}" type="sibTrans" cxnId="{19FBC9F0-3FB9-48DB-8DD9-F1390AF09F53}">
      <dgm:prSet/>
      <dgm:spPr/>
      <dgm:t>
        <a:bodyPr/>
        <a:lstStyle/>
        <a:p>
          <a:endParaRPr lang="en-US"/>
        </a:p>
      </dgm:t>
    </dgm:pt>
    <dgm:pt modelId="{327D91CB-986D-4D87-82B0-85E3EAFA9556}">
      <dgm:prSet phldrT="[Text]"/>
      <dgm:spPr>
        <a:solidFill>
          <a:schemeClr val="accent5">
            <a:lumMod val="20000"/>
            <a:lumOff val="80000"/>
            <a:alpha val="90000"/>
          </a:schemeClr>
        </a:solidFill>
      </dgm:spPr>
      <dgm:t>
        <a:bodyPr/>
        <a:lstStyle/>
        <a:p>
          <a:r>
            <a:rPr lang="en-US" dirty="0"/>
            <a:t>Foundational Webinars</a:t>
          </a:r>
        </a:p>
      </dgm:t>
    </dgm:pt>
    <dgm:pt modelId="{A52A9EDA-5B3E-41CA-BFD0-4384B06CF67D}" type="parTrans" cxnId="{BD540093-EB15-4755-AD62-468D83965CD6}">
      <dgm:prSet/>
      <dgm:spPr/>
      <dgm:t>
        <a:bodyPr/>
        <a:lstStyle/>
        <a:p>
          <a:endParaRPr lang="en-US"/>
        </a:p>
      </dgm:t>
    </dgm:pt>
    <dgm:pt modelId="{6CDD1AED-EF62-4794-836C-95F0CE2BB497}" type="sibTrans" cxnId="{BD540093-EB15-4755-AD62-468D83965CD6}">
      <dgm:prSet/>
      <dgm:spPr/>
      <dgm:t>
        <a:bodyPr/>
        <a:lstStyle/>
        <a:p>
          <a:endParaRPr lang="en-US"/>
        </a:p>
      </dgm:t>
    </dgm:pt>
    <dgm:pt modelId="{FCC70DE2-2DB4-4DCE-9B91-86AB5BFC6DAD}">
      <dgm:prSet phldrT="[Text]"/>
      <dgm:spPr>
        <a:solidFill>
          <a:srgbClr val="381360">
            <a:alpha val="74902"/>
          </a:srgbClr>
        </a:solidFill>
      </dgm:spPr>
      <dgm:t>
        <a:bodyPr/>
        <a:lstStyle/>
        <a:p>
          <a:r>
            <a:rPr lang="en-US" dirty="0"/>
            <a:t>Advanced</a:t>
          </a:r>
        </a:p>
      </dgm:t>
    </dgm:pt>
    <dgm:pt modelId="{14C462A2-1647-40FD-900E-80CD19087F08}" type="parTrans" cxnId="{CDE7461B-6A19-4800-ACB5-8C2A8A434435}">
      <dgm:prSet/>
      <dgm:spPr/>
      <dgm:t>
        <a:bodyPr/>
        <a:lstStyle/>
        <a:p>
          <a:endParaRPr lang="en-US"/>
        </a:p>
      </dgm:t>
    </dgm:pt>
    <dgm:pt modelId="{7BA52E9B-0448-4867-A40F-2BDB1634CBC2}" type="sibTrans" cxnId="{CDE7461B-6A19-4800-ACB5-8C2A8A434435}">
      <dgm:prSet/>
      <dgm:spPr/>
      <dgm:t>
        <a:bodyPr/>
        <a:lstStyle/>
        <a:p>
          <a:endParaRPr lang="en-US"/>
        </a:p>
      </dgm:t>
    </dgm:pt>
    <dgm:pt modelId="{8EC09F82-3F27-4815-B2B4-90EAF6050268}">
      <dgm:prSet phldrT="[Text]"/>
      <dgm:spPr>
        <a:solidFill>
          <a:schemeClr val="accent2">
            <a:lumMod val="20000"/>
            <a:lumOff val="80000"/>
            <a:alpha val="90000"/>
          </a:schemeClr>
        </a:solidFill>
      </dgm:spPr>
      <dgm:t>
        <a:bodyPr/>
        <a:lstStyle/>
        <a:p>
          <a:r>
            <a:rPr lang="en-US" dirty="0"/>
            <a:t>Apricot Admin Masterclass</a:t>
          </a:r>
        </a:p>
      </dgm:t>
    </dgm:pt>
    <dgm:pt modelId="{5835A8F4-B34D-408D-95A9-C83FC9BA44F6}" type="parTrans" cxnId="{8EE7E122-CEC5-4D31-8246-AB392BF4CC45}">
      <dgm:prSet/>
      <dgm:spPr/>
      <dgm:t>
        <a:bodyPr/>
        <a:lstStyle/>
        <a:p>
          <a:endParaRPr lang="en-US"/>
        </a:p>
      </dgm:t>
    </dgm:pt>
    <dgm:pt modelId="{AA379719-F907-4708-8AA4-8BFD93A95BBB}" type="sibTrans" cxnId="{8EE7E122-CEC5-4D31-8246-AB392BF4CC45}">
      <dgm:prSet/>
      <dgm:spPr/>
      <dgm:t>
        <a:bodyPr/>
        <a:lstStyle/>
        <a:p>
          <a:endParaRPr lang="en-US"/>
        </a:p>
      </dgm:t>
    </dgm:pt>
    <dgm:pt modelId="{193EFBF4-7813-474F-B4E4-CE9C23C78EDE}">
      <dgm:prSet phldrT="[Text]"/>
      <dgm:spPr>
        <a:solidFill>
          <a:schemeClr val="accent5">
            <a:lumMod val="20000"/>
            <a:lumOff val="80000"/>
            <a:alpha val="90000"/>
          </a:schemeClr>
        </a:solidFill>
      </dgm:spPr>
      <dgm:t>
        <a:bodyPr/>
        <a:lstStyle/>
        <a:p>
          <a:r>
            <a:rPr lang="en-US" dirty="0"/>
            <a:t>Advanced Webinars</a:t>
          </a:r>
        </a:p>
      </dgm:t>
    </dgm:pt>
    <dgm:pt modelId="{221CD5AC-7042-4A3F-819C-73F11F1B3639}" type="parTrans" cxnId="{1090D28C-E899-41B9-A0C7-197EA257F58F}">
      <dgm:prSet/>
      <dgm:spPr/>
      <dgm:t>
        <a:bodyPr/>
        <a:lstStyle/>
        <a:p>
          <a:endParaRPr lang="en-US"/>
        </a:p>
      </dgm:t>
    </dgm:pt>
    <dgm:pt modelId="{3FB4C2DA-D18A-4864-BB76-EFC136C48B51}" type="sibTrans" cxnId="{1090D28C-E899-41B9-A0C7-197EA257F58F}">
      <dgm:prSet/>
      <dgm:spPr/>
      <dgm:t>
        <a:bodyPr/>
        <a:lstStyle/>
        <a:p>
          <a:endParaRPr lang="en-US"/>
        </a:p>
      </dgm:t>
    </dgm:pt>
    <dgm:pt modelId="{190A5FEE-228B-4473-AFEF-376014941B99}">
      <dgm:prSet phldrT="[Text]"/>
      <dgm:spPr>
        <a:solidFill>
          <a:srgbClr val="381360">
            <a:alpha val="50196"/>
          </a:srgbClr>
        </a:solidFill>
      </dgm:spPr>
      <dgm:t>
        <a:bodyPr/>
        <a:lstStyle/>
        <a:p>
          <a:r>
            <a:rPr lang="en-US" dirty="0"/>
            <a:t>Supplemental</a:t>
          </a:r>
        </a:p>
      </dgm:t>
    </dgm:pt>
    <dgm:pt modelId="{9A78EDBA-ACBD-4E23-9A7C-F2954C3E268D}" type="parTrans" cxnId="{BAA20294-0586-4B40-9458-073B52CD98E2}">
      <dgm:prSet/>
      <dgm:spPr/>
      <dgm:t>
        <a:bodyPr/>
        <a:lstStyle/>
        <a:p>
          <a:endParaRPr lang="en-US"/>
        </a:p>
      </dgm:t>
    </dgm:pt>
    <dgm:pt modelId="{EC2EA11E-5026-4E56-95F4-E80B7C5B7420}" type="sibTrans" cxnId="{BAA20294-0586-4B40-9458-073B52CD98E2}">
      <dgm:prSet/>
      <dgm:spPr/>
      <dgm:t>
        <a:bodyPr/>
        <a:lstStyle/>
        <a:p>
          <a:endParaRPr lang="en-US"/>
        </a:p>
      </dgm:t>
    </dgm:pt>
    <dgm:pt modelId="{A54D2808-8E75-4297-8A03-478A7868167F}">
      <dgm:prSet phldrT="[Text]"/>
      <dgm:spPr>
        <a:solidFill>
          <a:schemeClr val="accent2">
            <a:lumMod val="20000"/>
            <a:lumOff val="80000"/>
            <a:alpha val="90000"/>
          </a:schemeClr>
        </a:solidFill>
      </dgm:spPr>
      <dgm:t>
        <a:bodyPr/>
        <a:lstStyle/>
        <a:p>
          <a:r>
            <a:rPr lang="en-US" dirty="0"/>
            <a:t>Private Training</a:t>
          </a:r>
        </a:p>
      </dgm:t>
    </dgm:pt>
    <dgm:pt modelId="{1C890CE2-1102-4ADC-8471-46E76E5E838E}" type="parTrans" cxnId="{FF3C9A1E-16D1-427A-99EE-BDEA0CE2E257}">
      <dgm:prSet/>
      <dgm:spPr/>
      <dgm:t>
        <a:bodyPr/>
        <a:lstStyle/>
        <a:p>
          <a:endParaRPr lang="en-US"/>
        </a:p>
      </dgm:t>
    </dgm:pt>
    <dgm:pt modelId="{5C9D5D44-6CA4-465B-AE05-2A44592A93C9}" type="sibTrans" cxnId="{FF3C9A1E-16D1-427A-99EE-BDEA0CE2E257}">
      <dgm:prSet/>
      <dgm:spPr/>
      <dgm:t>
        <a:bodyPr/>
        <a:lstStyle/>
        <a:p>
          <a:endParaRPr lang="en-US"/>
        </a:p>
      </dgm:t>
    </dgm:pt>
    <dgm:pt modelId="{DC6BC1BF-13C9-47DA-8C4A-372A93F8E571}">
      <dgm:prSet phldrT="[Text]"/>
      <dgm:spPr>
        <a:solidFill>
          <a:schemeClr val="accent5">
            <a:lumMod val="20000"/>
            <a:lumOff val="80000"/>
            <a:alpha val="90000"/>
          </a:schemeClr>
        </a:solidFill>
      </dgm:spPr>
      <dgm:t>
        <a:bodyPr/>
        <a:lstStyle/>
        <a:p>
          <a:r>
            <a:rPr lang="en-US" dirty="0"/>
            <a:t>Targeted &amp; New Release Webinars</a:t>
          </a:r>
        </a:p>
      </dgm:t>
    </dgm:pt>
    <dgm:pt modelId="{AEE8BA64-E3C0-4B7D-AAEB-3F7F1872F7FA}" type="parTrans" cxnId="{6B6D38E7-C8FB-4F3F-ADD4-4B3D46B9714C}">
      <dgm:prSet/>
      <dgm:spPr/>
      <dgm:t>
        <a:bodyPr/>
        <a:lstStyle/>
        <a:p>
          <a:endParaRPr lang="en-US"/>
        </a:p>
      </dgm:t>
    </dgm:pt>
    <dgm:pt modelId="{03745CF2-CC21-4752-9C9C-863DA267274A}" type="sibTrans" cxnId="{6B6D38E7-C8FB-4F3F-ADD4-4B3D46B9714C}">
      <dgm:prSet/>
      <dgm:spPr/>
      <dgm:t>
        <a:bodyPr/>
        <a:lstStyle/>
        <a:p>
          <a:endParaRPr lang="en-US"/>
        </a:p>
      </dgm:t>
    </dgm:pt>
    <dgm:pt modelId="{ED5D659A-52C0-4D99-9AE2-4AA817A881B9}" type="pres">
      <dgm:prSet presAssocID="{5DE89E1B-FFF1-4488-ADCB-5FF05DF78F74}" presName="Name0" presStyleCnt="0">
        <dgm:presLayoutVars>
          <dgm:dir/>
          <dgm:animLvl val="lvl"/>
          <dgm:resizeHandles val="exact"/>
        </dgm:presLayoutVars>
      </dgm:prSet>
      <dgm:spPr/>
    </dgm:pt>
    <dgm:pt modelId="{67613489-AB43-4B89-ACA1-09ED347B22AC}" type="pres">
      <dgm:prSet presAssocID="{190A5FEE-228B-4473-AFEF-376014941B99}" presName="boxAndChildren" presStyleCnt="0"/>
      <dgm:spPr/>
    </dgm:pt>
    <dgm:pt modelId="{B5644EB6-E870-4845-A955-0AFE59CC9347}" type="pres">
      <dgm:prSet presAssocID="{190A5FEE-228B-4473-AFEF-376014941B99}" presName="parentTextBox" presStyleLbl="node1" presStyleIdx="0" presStyleCnt="3"/>
      <dgm:spPr/>
    </dgm:pt>
    <dgm:pt modelId="{6989FE70-E4CC-485E-84DF-C10FA9CF96B5}" type="pres">
      <dgm:prSet presAssocID="{190A5FEE-228B-4473-AFEF-376014941B99}" presName="entireBox" presStyleLbl="node1" presStyleIdx="0" presStyleCnt="3"/>
      <dgm:spPr/>
    </dgm:pt>
    <dgm:pt modelId="{97836A42-C594-41D6-AADB-53CF9723B38F}" type="pres">
      <dgm:prSet presAssocID="{190A5FEE-228B-4473-AFEF-376014941B99}" presName="descendantBox" presStyleCnt="0"/>
      <dgm:spPr/>
    </dgm:pt>
    <dgm:pt modelId="{0BC3E606-3837-407B-B0D7-31618B9CAF71}" type="pres">
      <dgm:prSet presAssocID="{A54D2808-8E75-4297-8A03-478A7868167F}" presName="childTextBox" presStyleLbl="fgAccFollowNode1" presStyleIdx="0" presStyleCnt="6">
        <dgm:presLayoutVars>
          <dgm:bulletEnabled val="1"/>
        </dgm:presLayoutVars>
      </dgm:prSet>
      <dgm:spPr/>
    </dgm:pt>
    <dgm:pt modelId="{31B5029C-A352-4EA0-8ECC-DE7349293BC8}" type="pres">
      <dgm:prSet presAssocID="{DC6BC1BF-13C9-47DA-8C4A-372A93F8E571}" presName="childTextBox" presStyleLbl="fgAccFollowNode1" presStyleIdx="1" presStyleCnt="6">
        <dgm:presLayoutVars>
          <dgm:bulletEnabled val="1"/>
        </dgm:presLayoutVars>
      </dgm:prSet>
      <dgm:spPr/>
    </dgm:pt>
    <dgm:pt modelId="{CF5DE399-F04A-432A-ABB0-E5B0EFC4A07C}" type="pres">
      <dgm:prSet presAssocID="{7BA52E9B-0448-4867-A40F-2BDB1634CBC2}" presName="sp" presStyleCnt="0"/>
      <dgm:spPr/>
    </dgm:pt>
    <dgm:pt modelId="{516AB472-D60C-42E6-BA0F-C270CE4DF753}" type="pres">
      <dgm:prSet presAssocID="{FCC70DE2-2DB4-4DCE-9B91-86AB5BFC6DAD}" presName="arrowAndChildren" presStyleCnt="0"/>
      <dgm:spPr/>
    </dgm:pt>
    <dgm:pt modelId="{759AEAF1-4B22-4B4B-A274-FF7B0266B672}" type="pres">
      <dgm:prSet presAssocID="{FCC70DE2-2DB4-4DCE-9B91-86AB5BFC6DAD}" presName="parentTextArrow" presStyleLbl="node1" presStyleIdx="0" presStyleCnt="3"/>
      <dgm:spPr/>
    </dgm:pt>
    <dgm:pt modelId="{5B49E360-B59B-4927-BA06-A3B3AB7F7F98}" type="pres">
      <dgm:prSet presAssocID="{FCC70DE2-2DB4-4DCE-9B91-86AB5BFC6DAD}" presName="arrow" presStyleLbl="node1" presStyleIdx="1" presStyleCnt="3"/>
      <dgm:spPr/>
    </dgm:pt>
    <dgm:pt modelId="{F63EB6DA-E15E-45F7-8D40-106FECF8350B}" type="pres">
      <dgm:prSet presAssocID="{FCC70DE2-2DB4-4DCE-9B91-86AB5BFC6DAD}" presName="descendantArrow" presStyleCnt="0"/>
      <dgm:spPr/>
    </dgm:pt>
    <dgm:pt modelId="{EC15AE5C-56AB-4DC6-8BB2-A6FF3D18FD97}" type="pres">
      <dgm:prSet presAssocID="{8EC09F82-3F27-4815-B2B4-90EAF6050268}" presName="childTextArrow" presStyleLbl="fgAccFollowNode1" presStyleIdx="2" presStyleCnt="6">
        <dgm:presLayoutVars>
          <dgm:bulletEnabled val="1"/>
        </dgm:presLayoutVars>
      </dgm:prSet>
      <dgm:spPr/>
    </dgm:pt>
    <dgm:pt modelId="{5DF95D78-02B8-4F82-B17C-93512972F6FA}" type="pres">
      <dgm:prSet presAssocID="{193EFBF4-7813-474F-B4E4-CE9C23C78EDE}" presName="childTextArrow" presStyleLbl="fgAccFollowNode1" presStyleIdx="3" presStyleCnt="6">
        <dgm:presLayoutVars>
          <dgm:bulletEnabled val="1"/>
        </dgm:presLayoutVars>
      </dgm:prSet>
      <dgm:spPr/>
    </dgm:pt>
    <dgm:pt modelId="{60767103-9148-4C65-B4DF-FB5AAFB8DC2F}" type="pres">
      <dgm:prSet presAssocID="{6FD70E90-709E-489F-AEF0-BA2BD3BE155D}" presName="sp" presStyleCnt="0"/>
      <dgm:spPr/>
    </dgm:pt>
    <dgm:pt modelId="{0D3C6838-5B2D-4633-B695-54C913876F27}" type="pres">
      <dgm:prSet presAssocID="{7E172D83-970B-4473-881B-D035DB574E6C}" presName="arrowAndChildren" presStyleCnt="0"/>
      <dgm:spPr/>
    </dgm:pt>
    <dgm:pt modelId="{E4DF4C6E-A74D-431F-BC60-89F6EF44B2EE}" type="pres">
      <dgm:prSet presAssocID="{7E172D83-970B-4473-881B-D035DB574E6C}" presName="parentTextArrow" presStyleLbl="node1" presStyleIdx="1" presStyleCnt="3"/>
      <dgm:spPr/>
    </dgm:pt>
    <dgm:pt modelId="{54525630-50BA-4DF8-B646-41866B0D161C}" type="pres">
      <dgm:prSet presAssocID="{7E172D83-970B-4473-881B-D035DB574E6C}" presName="arrow" presStyleLbl="node1" presStyleIdx="2" presStyleCnt="3"/>
      <dgm:spPr/>
    </dgm:pt>
    <dgm:pt modelId="{0642DB3B-71A9-4474-BC47-2811DD6B116E}" type="pres">
      <dgm:prSet presAssocID="{7E172D83-970B-4473-881B-D035DB574E6C}" presName="descendantArrow" presStyleCnt="0"/>
      <dgm:spPr/>
    </dgm:pt>
    <dgm:pt modelId="{44FB48CE-2127-43A6-81BD-7D25BC0186F0}" type="pres">
      <dgm:prSet presAssocID="{7AF48070-DF07-41D3-B6A2-2B72C2D482EA}" presName="childTextArrow" presStyleLbl="fgAccFollowNode1" presStyleIdx="4" presStyleCnt="6">
        <dgm:presLayoutVars>
          <dgm:bulletEnabled val="1"/>
        </dgm:presLayoutVars>
      </dgm:prSet>
      <dgm:spPr/>
    </dgm:pt>
    <dgm:pt modelId="{9B7ABCBF-58AB-4EFA-A007-BCA4C0454427}" type="pres">
      <dgm:prSet presAssocID="{327D91CB-986D-4D87-82B0-85E3EAFA9556}" presName="childTextArrow" presStyleLbl="fgAccFollowNode1" presStyleIdx="5" presStyleCnt="6">
        <dgm:presLayoutVars>
          <dgm:bulletEnabled val="1"/>
        </dgm:presLayoutVars>
      </dgm:prSet>
      <dgm:spPr/>
    </dgm:pt>
  </dgm:ptLst>
  <dgm:cxnLst>
    <dgm:cxn modelId="{34585501-2AAA-4B17-AC58-2008AD4BBE28}" type="presOf" srcId="{FCC70DE2-2DB4-4DCE-9B91-86AB5BFC6DAD}" destId="{759AEAF1-4B22-4B4B-A274-FF7B0266B672}" srcOrd="0" destOrd="0" presId="urn:microsoft.com/office/officeart/2005/8/layout/process4"/>
    <dgm:cxn modelId="{FAD8F410-0AF4-4F6A-9CFA-E63404D69462}" type="presOf" srcId="{A54D2808-8E75-4297-8A03-478A7868167F}" destId="{0BC3E606-3837-407B-B0D7-31618B9CAF71}" srcOrd="0" destOrd="0" presId="urn:microsoft.com/office/officeart/2005/8/layout/process4"/>
    <dgm:cxn modelId="{BA184512-286A-4881-96DF-0ED43A85A3D5}" type="presOf" srcId="{7AF48070-DF07-41D3-B6A2-2B72C2D482EA}" destId="{44FB48CE-2127-43A6-81BD-7D25BC0186F0}" srcOrd="0" destOrd="0" presId="urn:microsoft.com/office/officeart/2005/8/layout/process4"/>
    <dgm:cxn modelId="{CDE7461B-6A19-4800-ACB5-8C2A8A434435}" srcId="{5DE89E1B-FFF1-4488-ADCB-5FF05DF78F74}" destId="{FCC70DE2-2DB4-4DCE-9B91-86AB5BFC6DAD}" srcOrd="1" destOrd="0" parTransId="{14C462A2-1647-40FD-900E-80CD19087F08}" sibTransId="{7BA52E9B-0448-4867-A40F-2BDB1634CBC2}"/>
    <dgm:cxn modelId="{FF3C9A1E-16D1-427A-99EE-BDEA0CE2E257}" srcId="{190A5FEE-228B-4473-AFEF-376014941B99}" destId="{A54D2808-8E75-4297-8A03-478A7868167F}" srcOrd="0" destOrd="0" parTransId="{1C890CE2-1102-4ADC-8471-46E76E5E838E}" sibTransId="{5C9D5D44-6CA4-465B-AE05-2A44592A93C9}"/>
    <dgm:cxn modelId="{8EE7E122-CEC5-4D31-8246-AB392BF4CC45}" srcId="{FCC70DE2-2DB4-4DCE-9B91-86AB5BFC6DAD}" destId="{8EC09F82-3F27-4815-B2B4-90EAF6050268}" srcOrd="0" destOrd="0" parTransId="{5835A8F4-B34D-408D-95A9-C83FC9BA44F6}" sibTransId="{AA379719-F907-4708-8AA4-8BFD93A95BBB}"/>
    <dgm:cxn modelId="{66008136-FAF2-4CB1-B4C1-7641602FDAF2}" srcId="{5DE89E1B-FFF1-4488-ADCB-5FF05DF78F74}" destId="{7E172D83-970B-4473-881B-D035DB574E6C}" srcOrd="0" destOrd="0" parTransId="{453CF26B-EE1F-4686-A1E9-4B7F3B29D535}" sibTransId="{6FD70E90-709E-489F-AEF0-BA2BD3BE155D}"/>
    <dgm:cxn modelId="{23AAD368-4FFE-4101-97F9-D73F3C0CD612}" type="presOf" srcId="{8EC09F82-3F27-4815-B2B4-90EAF6050268}" destId="{EC15AE5C-56AB-4DC6-8BB2-A6FF3D18FD97}" srcOrd="0" destOrd="0" presId="urn:microsoft.com/office/officeart/2005/8/layout/process4"/>
    <dgm:cxn modelId="{E1E57B5A-6B69-459D-B6E5-484AD0A17D44}" type="presOf" srcId="{7E172D83-970B-4473-881B-D035DB574E6C}" destId="{E4DF4C6E-A74D-431F-BC60-89F6EF44B2EE}" srcOrd="0" destOrd="0" presId="urn:microsoft.com/office/officeart/2005/8/layout/process4"/>
    <dgm:cxn modelId="{1090D28C-E899-41B9-A0C7-197EA257F58F}" srcId="{FCC70DE2-2DB4-4DCE-9B91-86AB5BFC6DAD}" destId="{193EFBF4-7813-474F-B4E4-CE9C23C78EDE}" srcOrd="1" destOrd="0" parTransId="{221CD5AC-7042-4A3F-819C-73F11F1B3639}" sibTransId="{3FB4C2DA-D18A-4864-BB76-EFC136C48B51}"/>
    <dgm:cxn modelId="{0D6B8292-CA3D-4B74-85A3-8AECA743AC28}" type="presOf" srcId="{FCC70DE2-2DB4-4DCE-9B91-86AB5BFC6DAD}" destId="{5B49E360-B59B-4927-BA06-A3B3AB7F7F98}" srcOrd="1" destOrd="0" presId="urn:microsoft.com/office/officeart/2005/8/layout/process4"/>
    <dgm:cxn modelId="{BD540093-EB15-4755-AD62-468D83965CD6}" srcId="{7E172D83-970B-4473-881B-D035DB574E6C}" destId="{327D91CB-986D-4D87-82B0-85E3EAFA9556}" srcOrd="1" destOrd="0" parTransId="{A52A9EDA-5B3E-41CA-BFD0-4384B06CF67D}" sibTransId="{6CDD1AED-EF62-4794-836C-95F0CE2BB497}"/>
    <dgm:cxn modelId="{BAA20294-0586-4B40-9458-073B52CD98E2}" srcId="{5DE89E1B-FFF1-4488-ADCB-5FF05DF78F74}" destId="{190A5FEE-228B-4473-AFEF-376014941B99}" srcOrd="2" destOrd="0" parTransId="{9A78EDBA-ACBD-4E23-9A7C-F2954C3E268D}" sibTransId="{EC2EA11E-5026-4E56-95F4-E80B7C5B7420}"/>
    <dgm:cxn modelId="{AD04A89A-F1CD-4041-859E-67A1EA6041F6}" type="presOf" srcId="{193EFBF4-7813-474F-B4E4-CE9C23C78EDE}" destId="{5DF95D78-02B8-4F82-B17C-93512972F6FA}" srcOrd="0" destOrd="0" presId="urn:microsoft.com/office/officeart/2005/8/layout/process4"/>
    <dgm:cxn modelId="{A73C91BC-C491-4FEA-8C7B-F6E0E12345ED}" type="presOf" srcId="{7E172D83-970B-4473-881B-D035DB574E6C}" destId="{54525630-50BA-4DF8-B646-41866B0D161C}" srcOrd="1" destOrd="0" presId="urn:microsoft.com/office/officeart/2005/8/layout/process4"/>
    <dgm:cxn modelId="{EBFFFCBD-99D9-4A82-A153-92CB4B133ED4}" type="presOf" srcId="{5DE89E1B-FFF1-4488-ADCB-5FF05DF78F74}" destId="{ED5D659A-52C0-4D99-9AE2-4AA817A881B9}" srcOrd="0" destOrd="0" presId="urn:microsoft.com/office/officeart/2005/8/layout/process4"/>
    <dgm:cxn modelId="{7ADC37D6-B56F-425A-851F-DFF723123633}" type="presOf" srcId="{327D91CB-986D-4D87-82B0-85E3EAFA9556}" destId="{9B7ABCBF-58AB-4EFA-A007-BCA4C0454427}" srcOrd="0" destOrd="0" presId="urn:microsoft.com/office/officeart/2005/8/layout/process4"/>
    <dgm:cxn modelId="{6B6D38E7-C8FB-4F3F-ADD4-4B3D46B9714C}" srcId="{190A5FEE-228B-4473-AFEF-376014941B99}" destId="{DC6BC1BF-13C9-47DA-8C4A-372A93F8E571}" srcOrd="1" destOrd="0" parTransId="{AEE8BA64-E3C0-4B7D-AAEB-3F7F1872F7FA}" sibTransId="{03745CF2-CC21-4752-9C9C-863DA267274A}"/>
    <dgm:cxn modelId="{19FBC9F0-3FB9-48DB-8DD9-F1390AF09F53}" srcId="{7E172D83-970B-4473-881B-D035DB574E6C}" destId="{7AF48070-DF07-41D3-B6A2-2B72C2D482EA}" srcOrd="0" destOrd="0" parTransId="{72DF10A9-7BDD-43B5-B560-A7BEA1F787A2}" sibTransId="{CD62198F-9BCC-41B6-B4F6-5E59F91FBEF0}"/>
    <dgm:cxn modelId="{EB698BF2-1992-4418-91E8-479761B28912}" type="presOf" srcId="{DC6BC1BF-13C9-47DA-8C4A-372A93F8E571}" destId="{31B5029C-A352-4EA0-8ECC-DE7349293BC8}" srcOrd="0" destOrd="0" presId="urn:microsoft.com/office/officeart/2005/8/layout/process4"/>
    <dgm:cxn modelId="{AC6D82F8-ACA6-4B31-AAC4-6267AF82260C}" type="presOf" srcId="{190A5FEE-228B-4473-AFEF-376014941B99}" destId="{B5644EB6-E870-4845-A955-0AFE59CC9347}" srcOrd="0" destOrd="0" presId="urn:microsoft.com/office/officeart/2005/8/layout/process4"/>
    <dgm:cxn modelId="{7CB57CF9-D887-45E6-BB5A-BC9D914D0CBD}" type="presOf" srcId="{190A5FEE-228B-4473-AFEF-376014941B99}" destId="{6989FE70-E4CC-485E-84DF-C10FA9CF96B5}" srcOrd="1" destOrd="0" presId="urn:microsoft.com/office/officeart/2005/8/layout/process4"/>
    <dgm:cxn modelId="{BF88E304-4B26-4721-8F3D-E00C3670F2F6}" type="presParOf" srcId="{ED5D659A-52C0-4D99-9AE2-4AA817A881B9}" destId="{67613489-AB43-4B89-ACA1-09ED347B22AC}" srcOrd="0" destOrd="0" presId="urn:microsoft.com/office/officeart/2005/8/layout/process4"/>
    <dgm:cxn modelId="{DCAB0DAB-F9EA-42F1-8284-C672DBB1F60D}" type="presParOf" srcId="{67613489-AB43-4B89-ACA1-09ED347B22AC}" destId="{B5644EB6-E870-4845-A955-0AFE59CC9347}" srcOrd="0" destOrd="0" presId="urn:microsoft.com/office/officeart/2005/8/layout/process4"/>
    <dgm:cxn modelId="{ECE22350-1D36-4FE9-8DD3-AC7ECA0013A9}" type="presParOf" srcId="{67613489-AB43-4B89-ACA1-09ED347B22AC}" destId="{6989FE70-E4CC-485E-84DF-C10FA9CF96B5}" srcOrd="1" destOrd="0" presId="urn:microsoft.com/office/officeart/2005/8/layout/process4"/>
    <dgm:cxn modelId="{58462CCA-BD2D-41CD-870E-9296B38C3D1E}" type="presParOf" srcId="{67613489-AB43-4B89-ACA1-09ED347B22AC}" destId="{97836A42-C594-41D6-AADB-53CF9723B38F}" srcOrd="2" destOrd="0" presId="urn:microsoft.com/office/officeart/2005/8/layout/process4"/>
    <dgm:cxn modelId="{8FE0B6C7-FD26-466A-B284-997DFC7EC907}" type="presParOf" srcId="{97836A42-C594-41D6-AADB-53CF9723B38F}" destId="{0BC3E606-3837-407B-B0D7-31618B9CAF71}" srcOrd="0" destOrd="0" presId="urn:microsoft.com/office/officeart/2005/8/layout/process4"/>
    <dgm:cxn modelId="{19CD9317-0848-4F5A-B053-796EAA476200}" type="presParOf" srcId="{97836A42-C594-41D6-AADB-53CF9723B38F}" destId="{31B5029C-A352-4EA0-8ECC-DE7349293BC8}" srcOrd="1" destOrd="0" presId="urn:microsoft.com/office/officeart/2005/8/layout/process4"/>
    <dgm:cxn modelId="{6B32E12D-020F-4653-9F15-31DDBE42514E}" type="presParOf" srcId="{ED5D659A-52C0-4D99-9AE2-4AA817A881B9}" destId="{CF5DE399-F04A-432A-ABB0-E5B0EFC4A07C}" srcOrd="1" destOrd="0" presId="urn:microsoft.com/office/officeart/2005/8/layout/process4"/>
    <dgm:cxn modelId="{DF331192-A156-4BBC-8495-A22EE59FE8D1}" type="presParOf" srcId="{ED5D659A-52C0-4D99-9AE2-4AA817A881B9}" destId="{516AB472-D60C-42E6-BA0F-C270CE4DF753}" srcOrd="2" destOrd="0" presId="urn:microsoft.com/office/officeart/2005/8/layout/process4"/>
    <dgm:cxn modelId="{30825C7A-66DD-452A-93EB-DBCD8B2B3FCE}" type="presParOf" srcId="{516AB472-D60C-42E6-BA0F-C270CE4DF753}" destId="{759AEAF1-4B22-4B4B-A274-FF7B0266B672}" srcOrd="0" destOrd="0" presId="urn:microsoft.com/office/officeart/2005/8/layout/process4"/>
    <dgm:cxn modelId="{2708DA33-6E27-449D-BE7E-D51B8B2270FE}" type="presParOf" srcId="{516AB472-D60C-42E6-BA0F-C270CE4DF753}" destId="{5B49E360-B59B-4927-BA06-A3B3AB7F7F98}" srcOrd="1" destOrd="0" presId="urn:microsoft.com/office/officeart/2005/8/layout/process4"/>
    <dgm:cxn modelId="{5CCCEF5C-DA44-4999-9F6D-8C2A8FCEC2A2}" type="presParOf" srcId="{516AB472-D60C-42E6-BA0F-C270CE4DF753}" destId="{F63EB6DA-E15E-45F7-8D40-106FECF8350B}" srcOrd="2" destOrd="0" presId="urn:microsoft.com/office/officeart/2005/8/layout/process4"/>
    <dgm:cxn modelId="{5FED001F-57DF-446A-851E-BE6377C39CFB}" type="presParOf" srcId="{F63EB6DA-E15E-45F7-8D40-106FECF8350B}" destId="{EC15AE5C-56AB-4DC6-8BB2-A6FF3D18FD97}" srcOrd="0" destOrd="0" presId="urn:microsoft.com/office/officeart/2005/8/layout/process4"/>
    <dgm:cxn modelId="{E0E14CFA-1250-47FC-88F8-111F268DE1AA}" type="presParOf" srcId="{F63EB6DA-E15E-45F7-8D40-106FECF8350B}" destId="{5DF95D78-02B8-4F82-B17C-93512972F6FA}" srcOrd="1" destOrd="0" presId="urn:microsoft.com/office/officeart/2005/8/layout/process4"/>
    <dgm:cxn modelId="{B783DDDD-1A4F-4A7B-9879-55BA0EAAF7DE}" type="presParOf" srcId="{ED5D659A-52C0-4D99-9AE2-4AA817A881B9}" destId="{60767103-9148-4C65-B4DF-FB5AAFB8DC2F}" srcOrd="3" destOrd="0" presId="urn:microsoft.com/office/officeart/2005/8/layout/process4"/>
    <dgm:cxn modelId="{69B1C7F8-BABC-4BF7-B06A-66AE106EFE92}" type="presParOf" srcId="{ED5D659A-52C0-4D99-9AE2-4AA817A881B9}" destId="{0D3C6838-5B2D-4633-B695-54C913876F27}" srcOrd="4" destOrd="0" presId="urn:microsoft.com/office/officeart/2005/8/layout/process4"/>
    <dgm:cxn modelId="{F4768DF3-B04F-415C-B8BC-3E3571C0EA7F}" type="presParOf" srcId="{0D3C6838-5B2D-4633-B695-54C913876F27}" destId="{E4DF4C6E-A74D-431F-BC60-89F6EF44B2EE}" srcOrd="0" destOrd="0" presId="urn:microsoft.com/office/officeart/2005/8/layout/process4"/>
    <dgm:cxn modelId="{AF3296EF-7AF9-4842-B257-5C791AAED68F}" type="presParOf" srcId="{0D3C6838-5B2D-4633-B695-54C913876F27}" destId="{54525630-50BA-4DF8-B646-41866B0D161C}" srcOrd="1" destOrd="0" presId="urn:microsoft.com/office/officeart/2005/8/layout/process4"/>
    <dgm:cxn modelId="{4BCFECFE-3AE9-4F7D-BF4A-B052CF1C7C3B}" type="presParOf" srcId="{0D3C6838-5B2D-4633-B695-54C913876F27}" destId="{0642DB3B-71A9-4474-BC47-2811DD6B116E}" srcOrd="2" destOrd="0" presId="urn:microsoft.com/office/officeart/2005/8/layout/process4"/>
    <dgm:cxn modelId="{7DF06B6D-0A38-4380-9588-E365995C6A77}" type="presParOf" srcId="{0642DB3B-71A9-4474-BC47-2811DD6B116E}" destId="{44FB48CE-2127-43A6-81BD-7D25BC0186F0}" srcOrd="0" destOrd="0" presId="urn:microsoft.com/office/officeart/2005/8/layout/process4"/>
    <dgm:cxn modelId="{DC24760F-CC8B-49F7-AE5E-1CB2454FCD9B}" type="presParOf" srcId="{0642DB3B-71A9-4474-BC47-2811DD6B116E}" destId="{9B7ABCBF-58AB-4EFA-A007-BCA4C0454427}"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12BF13-16F0-41D2-8066-B2941E35D8F3}">
      <dsp:nvSpPr>
        <dsp:cNvPr id="0" name=""/>
        <dsp:cNvSpPr/>
      </dsp:nvSpPr>
      <dsp:spPr>
        <a:xfrm>
          <a:off x="0" y="380681"/>
          <a:ext cx="112776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DC3EE2-14A4-4BEB-B5AB-492CCEEC2776}">
      <dsp:nvSpPr>
        <dsp:cNvPr id="0" name=""/>
        <dsp:cNvSpPr/>
      </dsp:nvSpPr>
      <dsp:spPr>
        <a:xfrm>
          <a:off x="563880" y="11681"/>
          <a:ext cx="789432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387" tIns="0" rIns="298387" bIns="0" numCol="1" spcCol="1270" anchor="ctr" anchorCtr="0">
          <a:noAutofit/>
        </a:bodyPr>
        <a:lstStyle/>
        <a:p>
          <a:pPr marL="0" lvl="0" indent="0" algn="l" defTabSz="1111250">
            <a:lnSpc>
              <a:spcPct val="90000"/>
            </a:lnSpc>
            <a:spcBef>
              <a:spcPct val="0"/>
            </a:spcBef>
            <a:spcAft>
              <a:spcPct val="35000"/>
            </a:spcAft>
            <a:buNone/>
          </a:pPr>
          <a:r>
            <a:rPr lang="en-US" sz="2500" kern="1200" dirty="0"/>
            <a:t>Overview &amp; Expectations</a:t>
          </a:r>
        </a:p>
      </dsp:txBody>
      <dsp:txXfrm>
        <a:off x="599906" y="47707"/>
        <a:ext cx="7822268" cy="665948"/>
      </dsp:txXfrm>
    </dsp:sp>
    <dsp:sp modelId="{9C98F2D5-4587-413F-A232-C9F565BC0537}">
      <dsp:nvSpPr>
        <dsp:cNvPr id="0" name=""/>
        <dsp:cNvSpPr/>
      </dsp:nvSpPr>
      <dsp:spPr>
        <a:xfrm>
          <a:off x="0" y="1514681"/>
          <a:ext cx="112776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204F80-81A1-4425-A1E2-C0BB3ABA7DA6}">
      <dsp:nvSpPr>
        <dsp:cNvPr id="0" name=""/>
        <dsp:cNvSpPr/>
      </dsp:nvSpPr>
      <dsp:spPr>
        <a:xfrm>
          <a:off x="563880" y="1145681"/>
          <a:ext cx="789432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387" tIns="0" rIns="298387" bIns="0" numCol="1" spcCol="1270" anchor="ctr" anchorCtr="0">
          <a:noAutofit/>
        </a:bodyPr>
        <a:lstStyle/>
        <a:p>
          <a:pPr marL="0" lvl="0" indent="0" algn="l" defTabSz="1111250">
            <a:lnSpc>
              <a:spcPct val="90000"/>
            </a:lnSpc>
            <a:spcBef>
              <a:spcPct val="0"/>
            </a:spcBef>
            <a:spcAft>
              <a:spcPct val="35000"/>
            </a:spcAft>
            <a:buNone/>
          </a:pPr>
          <a:r>
            <a:rPr lang="en-US" sz="2500" kern="1200" dirty="0"/>
            <a:t>Competency Categories</a:t>
          </a:r>
        </a:p>
      </dsp:txBody>
      <dsp:txXfrm>
        <a:off x="599906" y="1181707"/>
        <a:ext cx="7822268" cy="665948"/>
      </dsp:txXfrm>
    </dsp:sp>
    <dsp:sp modelId="{30F0ECBB-DEF6-4E08-BA5B-852793854910}">
      <dsp:nvSpPr>
        <dsp:cNvPr id="0" name=""/>
        <dsp:cNvSpPr/>
      </dsp:nvSpPr>
      <dsp:spPr>
        <a:xfrm>
          <a:off x="0" y="2648681"/>
          <a:ext cx="112776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DF151A-8A2E-4875-A1F7-7605220DD0FB}">
      <dsp:nvSpPr>
        <dsp:cNvPr id="0" name=""/>
        <dsp:cNvSpPr/>
      </dsp:nvSpPr>
      <dsp:spPr>
        <a:xfrm>
          <a:off x="563880" y="2279681"/>
          <a:ext cx="789432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387" tIns="0" rIns="298387" bIns="0" numCol="1" spcCol="1270" anchor="ctr" anchorCtr="0">
          <a:noAutofit/>
        </a:bodyPr>
        <a:lstStyle/>
        <a:p>
          <a:pPr marL="0" lvl="0" indent="0" algn="l" defTabSz="1111250">
            <a:lnSpc>
              <a:spcPct val="90000"/>
            </a:lnSpc>
            <a:spcBef>
              <a:spcPct val="0"/>
            </a:spcBef>
            <a:spcAft>
              <a:spcPct val="35000"/>
            </a:spcAft>
            <a:buNone/>
          </a:pPr>
          <a:r>
            <a:rPr lang="en-US" sz="2500" kern="1200" dirty="0"/>
            <a:t>Recommended Training</a:t>
          </a:r>
        </a:p>
      </dsp:txBody>
      <dsp:txXfrm>
        <a:off x="599906" y="2315707"/>
        <a:ext cx="7822268" cy="665948"/>
      </dsp:txXfrm>
    </dsp:sp>
    <dsp:sp modelId="{54C88D0C-DB2F-45A0-95C8-7F1D3428D333}">
      <dsp:nvSpPr>
        <dsp:cNvPr id="0" name=""/>
        <dsp:cNvSpPr/>
      </dsp:nvSpPr>
      <dsp:spPr>
        <a:xfrm>
          <a:off x="0" y="3782681"/>
          <a:ext cx="11277600" cy="6300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3252EE4-F9CE-41FE-BF21-F4D94F0B5EC0}">
      <dsp:nvSpPr>
        <dsp:cNvPr id="0" name=""/>
        <dsp:cNvSpPr/>
      </dsp:nvSpPr>
      <dsp:spPr>
        <a:xfrm>
          <a:off x="563880" y="3413681"/>
          <a:ext cx="7894320" cy="73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8387" tIns="0" rIns="298387" bIns="0" numCol="1" spcCol="1270" anchor="ctr" anchorCtr="0">
          <a:noAutofit/>
        </a:bodyPr>
        <a:lstStyle/>
        <a:p>
          <a:pPr marL="0" lvl="0" indent="0" algn="l" defTabSz="1111250">
            <a:lnSpc>
              <a:spcPct val="90000"/>
            </a:lnSpc>
            <a:spcBef>
              <a:spcPct val="0"/>
            </a:spcBef>
            <a:spcAft>
              <a:spcPct val="35000"/>
            </a:spcAft>
            <a:buNone/>
          </a:pPr>
          <a:r>
            <a:rPr lang="en-US" sz="2500" kern="1200" dirty="0"/>
            <a:t>Open Q&amp;A</a:t>
          </a:r>
        </a:p>
      </dsp:txBody>
      <dsp:txXfrm>
        <a:off x="599906" y="3449707"/>
        <a:ext cx="7822268"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8F7D2-AE95-48C4-8A51-253229EF6ECF}">
      <dsp:nvSpPr>
        <dsp:cNvPr id="0" name=""/>
        <dsp:cNvSpPr/>
      </dsp:nvSpPr>
      <dsp:spPr>
        <a:xfrm rot="16200000">
          <a:off x="-1446079"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Access</a:t>
          </a:r>
        </a:p>
      </dsp:txBody>
      <dsp:txXfrm>
        <a:off x="-1446079" y="2078939"/>
        <a:ext cx="3097185" cy="251626"/>
      </dsp:txXfrm>
    </dsp:sp>
    <dsp:sp modelId="{50240BFA-9EB0-4A53-9B2C-DCB76108D80B}">
      <dsp:nvSpPr>
        <dsp:cNvPr id="0" name=""/>
        <dsp:cNvSpPr/>
      </dsp:nvSpPr>
      <dsp:spPr>
        <a:xfrm>
          <a:off x="228326" y="656160"/>
          <a:ext cx="1253368" cy="30971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Free Online Exam, hosted in Bonterra Academy</a:t>
          </a:r>
        </a:p>
      </dsp:txBody>
      <dsp:txXfrm>
        <a:off x="228326" y="656160"/>
        <a:ext cx="1253368" cy="3097185"/>
      </dsp:txXfrm>
    </dsp:sp>
    <dsp:sp modelId="{4F8D67E9-C0E8-490D-B52D-B1549778361D}">
      <dsp:nvSpPr>
        <dsp:cNvPr id="0" name=""/>
        <dsp:cNvSpPr/>
      </dsp:nvSpPr>
      <dsp:spPr>
        <a:xfrm>
          <a:off x="-133344" y="217404"/>
          <a:ext cx="723341" cy="716471"/>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F0495F4-71DB-44EB-B856-184C771DB28F}">
      <dsp:nvSpPr>
        <dsp:cNvPr id="0" name=""/>
        <dsp:cNvSpPr/>
      </dsp:nvSpPr>
      <dsp:spPr>
        <a:xfrm rot="16200000">
          <a:off x="504488"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Questions</a:t>
          </a:r>
        </a:p>
      </dsp:txBody>
      <dsp:txXfrm>
        <a:off x="504488" y="2078939"/>
        <a:ext cx="3097185" cy="251626"/>
      </dsp:txXfrm>
    </dsp:sp>
    <dsp:sp modelId="{1D07A174-3848-4B71-B197-F47EB96CF2C1}">
      <dsp:nvSpPr>
        <dsp:cNvPr id="0" name=""/>
        <dsp:cNvSpPr/>
      </dsp:nvSpPr>
      <dsp:spPr>
        <a:xfrm>
          <a:off x="2178894" y="656160"/>
          <a:ext cx="1253368" cy="309718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50 Multiple Choice &amp; True / False</a:t>
          </a:r>
        </a:p>
      </dsp:txBody>
      <dsp:txXfrm>
        <a:off x="2178894" y="656160"/>
        <a:ext cx="1253368" cy="3097185"/>
      </dsp:txXfrm>
    </dsp:sp>
    <dsp:sp modelId="{53E1BE71-40BD-4A3F-9926-AA7276D66C81}">
      <dsp:nvSpPr>
        <dsp:cNvPr id="0" name=""/>
        <dsp:cNvSpPr/>
      </dsp:nvSpPr>
      <dsp:spPr>
        <a:xfrm>
          <a:off x="1817223" y="217404"/>
          <a:ext cx="723341" cy="716471"/>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417F3F0-EDB1-426B-8C5F-2DC0D46D7350}">
      <dsp:nvSpPr>
        <dsp:cNvPr id="0" name=""/>
        <dsp:cNvSpPr/>
      </dsp:nvSpPr>
      <dsp:spPr>
        <a:xfrm rot="16200000">
          <a:off x="2455056"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Reference</a:t>
          </a:r>
        </a:p>
      </dsp:txBody>
      <dsp:txXfrm>
        <a:off x="2455056" y="2078939"/>
        <a:ext cx="3097185" cy="251626"/>
      </dsp:txXfrm>
    </dsp:sp>
    <dsp:sp modelId="{E1DD40D3-EE1A-4506-9880-246427A42475}">
      <dsp:nvSpPr>
        <dsp:cNvPr id="0" name=""/>
        <dsp:cNvSpPr/>
      </dsp:nvSpPr>
      <dsp:spPr>
        <a:xfrm>
          <a:off x="4129462" y="656160"/>
          <a:ext cx="1253368" cy="309718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Use Help Center &amp; Apricot as needed</a:t>
          </a:r>
        </a:p>
      </dsp:txBody>
      <dsp:txXfrm>
        <a:off x="4129462" y="656160"/>
        <a:ext cx="1253368" cy="3097185"/>
      </dsp:txXfrm>
    </dsp:sp>
    <dsp:sp modelId="{306AA157-7C45-4F49-AED5-799FB004B6FA}">
      <dsp:nvSpPr>
        <dsp:cNvPr id="0" name=""/>
        <dsp:cNvSpPr/>
      </dsp:nvSpPr>
      <dsp:spPr>
        <a:xfrm>
          <a:off x="3767791" y="217404"/>
          <a:ext cx="723341" cy="716471"/>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6020944-4F52-4817-8026-F1BAAEE076BA}">
      <dsp:nvSpPr>
        <dsp:cNvPr id="0" name=""/>
        <dsp:cNvSpPr/>
      </dsp:nvSpPr>
      <dsp:spPr>
        <a:xfrm rot="16200000">
          <a:off x="4405624"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Scoring</a:t>
          </a:r>
        </a:p>
      </dsp:txBody>
      <dsp:txXfrm>
        <a:off x="4405624" y="2078939"/>
        <a:ext cx="3097185" cy="251626"/>
      </dsp:txXfrm>
    </dsp:sp>
    <dsp:sp modelId="{3B8E1E2D-D8D7-4704-B25F-DC61AD70E176}">
      <dsp:nvSpPr>
        <dsp:cNvPr id="0" name=""/>
        <dsp:cNvSpPr/>
      </dsp:nvSpPr>
      <dsp:spPr>
        <a:xfrm>
          <a:off x="6080030" y="656160"/>
          <a:ext cx="1253368" cy="309718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Graded in Real Time; Passing is 90%</a:t>
          </a:r>
        </a:p>
      </dsp:txBody>
      <dsp:txXfrm>
        <a:off x="6080030" y="656160"/>
        <a:ext cx="1253368" cy="3097185"/>
      </dsp:txXfrm>
    </dsp:sp>
    <dsp:sp modelId="{2E75B01D-661C-41C6-928E-C79B4A36D7F9}">
      <dsp:nvSpPr>
        <dsp:cNvPr id="0" name=""/>
        <dsp:cNvSpPr/>
      </dsp:nvSpPr>
      <dsp:spPr>
        <a:xfrm>
          <a:off x="5718359" y="217404"/>
          <a:ext cx="723341" cy="716471"/>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789AA48-65F8-401E-BFB6-0DA8A732C5F8}">
      <dsp:nvSpPr>
        <dsp:cNvPr id="0" name=""/>
        <dsp:cNvSpPr/>
      </dsp:nvSpPr>
      <dsp:spPr>
        <a:xfrm rot="16200000">
          <a:off x="6356192"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Retake</a:t>
          </a:r>
        </a:p>
      </dsp:txBody>
      <dsp:txXfrm>
        <a:off x="6356192" y="2078939"/>
        <a:ext cx="3097185" cy="251626"/>
      </dsp:txXfrm>
    </dsp:sp>
    <dsp:sp modelId="{D971018C-9A5C-44F3-A685-63CB3FFC6B02}">
      <dsp:nvSpPr>
        <dsp:cNvPr id="0" name=""/>
        <dsp:cNvSpPr/>
      </dsp:nvSpPr>
      <dsp:spPr>
        <a:xfrm>
          <a:off x="8030598" y="656160"/>
          <a:ext cx="1253368" cy="309718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Option to Retake Once after 7 Day Wait if Score &lt;90%</a:t>
          </a:r>
        </a:p>
      </dsp:txBody>
      <dsp:txXfrm>
        <a:off x="8030598" y="656160"/>
        <a:ext cx="1253368" cy="3097185"/>
      </dsp:txXfrm>
    </dsp:sp>
    <dsp:sp modelId="{A51B10D6-1405-46E9-97F8-B3FE5DED1A71}">
      <dsp:nvSpPr>
        <dsp:cNvPr id="0" name=""/>
        <dsp:cNvSpPr/>
      </dsp:nvSpPr>
      <dsp:spPr>
        <a:xfrm>
          <a:off x="7668927" y="217404"/>
          <a:ext cx="723341" cy="716471"/>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674E9DD-96E6-4D64-A1D9-39FAC3C2FC96}">
      <dsp:nvSpPr>
        <dsp:cNvPr id="0" name=""/>
        <dsp:cNvSpPr/>
      </dsp:nvSpPr>
      <dsp:spPr>
        <a:xfrm rot="16200000">
          <a:off x="8306760" y="2078939"/>
          <a:ext cx="3097185" cy="251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21921" bIns="0" numCol="1" spcCol="1270" anchor="t" anchorCtr="0">
          <a:noAutofit/>
        </a:bodyPr>
        <a:lstStyle/>
        <a:p>
          <a:pPr marL="0" lvl="0" indent="0" algn="r" defTabSz="800100">
            <a:lnSpc>
              <a:spcPct val="90000"/>
            </a:lnSpc>
            <a:spcBef>
              <a:spcPct val="0"/>
            </a:spcBef>
            <a:spcAft>
              <a:spcPct val="35000"/>
            </a:spcAft>
            <a:buNone/>
          </a:pPr>
          <a:r>
            <a:rPr lang="en-US" sz="1800" kern="1200" dirty="0"/>
            <a:t>Recertification</a:t>
          </a:r>
        </a:p>
      </dsp:txBody>
      <dsp:txXfrm>
        <a:off x="8306760" y="2078939"/>
        <a:ext cx="3097185" cy="251626"/>
      </dsp:txXfrm>
    </dsp:sp>
    <dsp:sp modelId="{CE3A6EA1-0FD6-4C89-8016-1A418D785703}">
      <dsp:nvSpPr>
        <dsp:cNvPr id="0" name=""/>
        <dsp:cNvSpPr/>
      </dsp:nvSpPr>
      <dsp:spPr>
        <a:xfrm>
          <a:off x="9981166" y="656160"/>
          <a:ext cx="1253368" cy="309718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221921" rIns="113792"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t>Mini Quiz to be taken Bi-Annually</a:t>
          </a:r>
        </a:p>
      </dsp:txBody>
      <dsp:txXfrm>
        <a:off x="9981166" y="656160"/>
        <a:ext cx="1253368" cy="3097185"/>
      </dsp:txXfrm>
    </dsp:sp>
    <dsp:sp modelId="{7331E592-2E3C-4685-921F-F672935C65F6}">
      <dsp:nvSpPr>
        <dsp:cNvPr id="0" name=""/>
        <dsp:cNvSpPr/>
      </dsp:nvSpPr>
      <dsp:spPr>
        <a:xfrm>
          <a:off x="9619495" y="217404"/>
          <a:ext cx="723341" cy="716471"/>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995B7-4CD9-4E7E-BB01-00CA6EE9F47E}">
      <dsp:nvSpPr>
        <dsp:cNvPr id="0" name=""/>
        <dsp:cNvSpPr/>
      </dsp:nvSpPr>
      <dsp:spPr>
        <a:xfrm>
          <a:off x="357776" y="896011"/>
          <a:ext cx="1389526" cy="148003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8BDB7C-1BA6-4B80-BC24-4EF58FCB5549}">
      <dsp:nvSpPr>
        <dsp:cNvPr id="0" name=""/>
        <dsp:cNvSpPr/>
      </dsp:nvSpPr>
      <dsp:spPr>
        <a:xfrm>
          <a:off x="6586" y="480069"/>
          <a:ext cx="2091905" cy="52231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dmin Role</a:t>
          </a:r>
        </a:p>
      </dsp:txBody>
      <dsp:txXfrm>
        <a:off x="6586" y="480069"/>
        <a:ext cx="2091905" cy="522319"/>
      </dsp:txXfrm>
    </dsp:sp>
    <dsp:sp modelId="{9C770FCE-A5AD-4D84-A6A4-5FA8D993A458}">
      <dsp:nvSpPr>
        <dsp:cNvPr id="0" name=""/>
        <dsp:cNvSpPr/>
      </dsp:nvSpPr>
      <dsp:spPr>
        <a:xfrm>
          <a:off x="3274241" y="896011"/>
          <a:ext cx="1389526" cy="148003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3B4DEE-E35A-4371-9716-30447B44A49F}">
      <dsp:nvSpPr>
        <dsp:cNvPr id="0" name=""/>
        <dsp:cNvSpPr/>
      </dsp:nvSpPr>
      <dsp:spPr>
        <a:xfrm>
          <a:off x="2923051" y="480069"/>
          <a:ext cx="2091905" cy="52231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orm Design</a:t>
          </a:r>
        </a:p>
      </dsp:txBody>
      <dsp:txXfrm>
        <a:off x="2923051" y="480069"/>
        <a:ext cx="2091905" cy="522319"/>
      </dsp:txXfrm>
    </dsp:sp>
    <dsp:sp modelId="{6B8E77CA-2356-4F53-AB35-06236DDE9C2E}">
      <dsp:nvSpPr>
        <dsp:cNvPr id="0" name=""/>
        <dsp:cNvSpPr/>
      </dsp:nvSpPr>
      <dsp:spPr>
        <a:xfrm>
          <a:off x="6190706" y="896011"/>
          <a:ext cx="1389526" cy="148003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09ECDA-4DBD-4D24-8B47-33621DCD5063}">
      <dsp:nvSpPr>
        <dsp:cNvPr id="0" name=""/>
        <dsp:cNvSpPr/>
      </dsp:nvSpPr>
      <dsp:spPr>
        <a:xfrm>
          <a:off x="5839517" y="480069"/>
          <a:ext cx="2091905" cy="522319"/>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How to Track…</a:t>
          </a:r>
        </a:p>
      </dsp:txBody>
      <dsp:txXfrm>
        <a:off x="5839517" y="480069"/>
        <a:ext cx="2091905" cy="522319"/>
      </dsp:txXfrm>
    </dsp:sp>
    <dsp:sp modelId="{1DCEC446-2BE2-47EE-BD4D-2A7A7CE4C84A}">
      <dsp:nvSpPr>
        <dsp:cNvPr id="0" name=""/>
        <dsp:cNvSpPr/>
      </dsp:nvSpPr>
      <dsp:spPr>
        <a:xfrm>
          <a:off x="9107171" y="896011"/>
          <a:ext cx="1389526" cy="148003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99231D-47C3-41DA-A9A6-450B87AC6A3B}">
      <dsp:nvSpPr>
        <dsp:cNvPr id="0" name=""/>
        <dsp:cNvSpPr/>
      </dsp:nvSpPr>
      <dsp:spPr>
        <a:xfrm>
          <a:off x="8755982" y="480069"/>
          <a:ext cx="2091905" cy="522319"/>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Native Reporting</a:t>
          </a:r>
        </a:p>
      </dsp:txBody>
      <dsp:txXfrm>
        <a:off x="8755982" y="480069"/>
        <a:ext cx="2091905" cy="522319"/>
      </dsp:txXfrm>
    </dsp:sp>
    <dsp:sp modelId="{5B39A79B-37BE-4D66-A957-EBD1E4DCCBC7}">
      <dsp:nvSpPr>
        <dsp:cNvPr id="0" name=""/>
        <dsp:cNvSpPr/>
      </dsp:nvSpPr>
      <dsp:spPr>
        <a:xfrm>
          <a:off x="1816008" y="3026234"/>
          <a:ext cx="1389526" cy="1480034"/>
        </a:xfrm>
        <a:prstGeom prst="rect">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514DEF-32B1-4D58-A809-D106967B1A7A}">
      <dsp:nvSpPr>
        <dsp:cNvPr id="0" name=""/>
        <dsp:cNvSpPr/>
      </dsp:nvSpPr>
      <dsp:spPr>
        <a:xfrm>
          <a:off x="1464819" y="2610292"/>
          <a:ext cx="2091905" cy="522319"/>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User Management</a:t>
          </a:r>
        </a:p>
      </dsp:txBody>
      <dsp:txXfrm>
        <a:off x="1464819" y="2610292"/>
        <a:ext cx="2091905" cy="522319"/>
      </dsp:txXfrm>
    </dsp:sp>
    <dsp:sp modelId="{A05E6AFE-9AA7-4CDA-AC7A-7736C3C24760}">
      <dsp:nvSpPr>
        <dsp:cNvPr id="0" name=""/>
        <dsp:cNvSpPr/>
      </dsp:nvSpPr>
      <dsp:spPr>
        <a:xfrm>
          <a:off x="4732474" y="3026234"/>
          <a:ext cx="1389526" cy="1480034"/>
        </a:xfrm>
        <a:prstGeom prst="rect">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6805BC-D547-406A-952B-DAF07E6BC383}">
      <dsp:nvSpPr>
        <dsp:cNvPr id="0" name=""/>
        <dsp:cNvSpPr/>
      </dsp:nvSpPr>
      <dsp:spPr>
        <a:xfrm>
          <a:off x="4381284" y="2610292"/>
          <a:ext cx="2091905" cy="522319"/>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Data Management</a:t>
          </a:r>
        </a:p>
      </dsp:txBody>
      <dsp:txXfrm>
        <a:off x="4381284" y="2610292"/>
        <a:ext cx="2091905" cy="522319"/>
      </dsp:txXfrm>
    </dsp:sp>
    <dsp:sp modelId="{465AA658-15B3-43D2-ABEE-B215931A76BA}">
      <dsp:nvSpPr>
        <dsp:cNvPr id="0" name=""/>
        <dsp:cNvSpPr/>
      </dsp:nvSpPr>
      <dsp:spPr>
        <a:xfrm>
          <a:off x="7648939" y="3026234"/>
          <a:ext cx="1389526" cy="1480034"/>
        </a:xfrm>
        <a:prstGeom prst="rect">
          <a:avLst/>
        </a:prstGeom>
        <a:blipFill>
          <a:blip xmlns:r="http://schemas.openxmlformats.org/officeDocument/2006/relationships" r:embed="rId13">
            <a:extLst>
              <a:ext uri="{96DAC541-7B7A-43D3-8B79-37D633B846F1}">
                <asvg:svgBlip xmlns:asvg="http://schemas.microsoft.com/office/drawing/2016/SVG/main" r:embed="rId1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5D13B0-7AFD-4B6D-95CC-DD74F0F28660}">
      <dsp:nvSpPr>
        <dsp:cNvPr id="0" name=""/>
        <dsp:cNvSpPr/>
      </dsp:nvSpPr>
      <dsp:spPr>
        <a:xfrm>
          <a:off x="7297749" y="2610292"/>
          <a:ext cx="2091905" cy="522319"/>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dditional Features</a:t>
          </a:r>
        </a:p>
      </dsp:txBody>
      <dsp:txXfrm>
        <a:off x="7297749" y="2610292"/>
        <a:ext cx="2091905" cy="5223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A14320-EC09-4E8B-BBB2-D94225E04CB2}">
      <dsp:nvSpPr>
        <dsp:cNvPr id="0" name=""/>
        <dsp:cNvSpPr/>
      </dsp:nvSpPr>
      <dsp:spPr>
        <a:xfrm>
          <a:off x="883" y="0"/>
          <a:ext cx="3143363" cy="764088"/>
        </a:xfrm>
        <a:prstGeom prst="chevron">
          <a:avLst/>
        </a:prstGeom>
        <a:solidFill>
          <a:srgbClr val="3813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Implementation</a:t>
          </a:r>
        </a:p>
      </dsp:txBody>
      <dsp:txXfrm>
        <a:off x="382927" y="0"/>
        <a:ext cx="2379275" cy="764088"/>
      </dsp:txXfrm>
    </dsp:sp>
    <dsp:sp modelId="{EF19D3FE-311E-4599-918C-1F17A31DB8FD}">
      <dsp:nvSpPr>
        <dsp:cNvPr id="0" name=""/>
        <dsp:cNvSpPr/>
      </dsp:nvSpPr>
      <dsp:spPr>
        <a:xfrm>
          <a:off x="2562745" y="0"/>
          <a:ext cx="3480459" cy="764088"/>
        </a:xfrm>
        <a:prstGeom prst="chevron">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Onboarding Staff</a:t>
          </a:r>
        </a:p>
      </dsp:txBody>
      <dsp:txXfrm>
        <a:off x="2944789" y="0"/>
        <a:ext cx="2716371" cy="764088"/>
      </dsp:txXfrm>
    </dsp:sp>
    <dsp:sp modelId="{25DD1BDF-164C-4EF2-8E5E-ABF7E61481A8}">
      <dsp:nvSpPr>
        <dsp:cNvPr id="0" name=""/>
        <dsp:cNvSpPr/>
      </dsp:nvSpPr>
      <dsp:spPr>
        <a:xfrm>
          <a:off x="5461704" y="0"/>
          <a:ext cx="5815013" cy="764088"/>
        </a:xfrm>
        <a:prstGeom prst="chevr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Ongoing Management &amp; Maintenance</a:t>
          </a:r>
        </a:p>
      </dsp:txBody>
      <dsp:txXfrm>
        <a:off x="5843748" y="0"/>
        <a:ext cx="5050925" cy="7640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AE44D7-FCD9-4E80-99F4-6AC5FAC0EDA3}">
      <dsp:nvSpPr>
        <dsp:cNvPr id="0" name=""/>
        <dsp:cNvSpPr/>
      </dsp:nvSpPr>
      <dsp:spPr>
        <a:xfrm rot="10800000">
          <a:off x="0" y="0"/>
          <a:ext cx="5417506" cy="1131752"/>
        </a:xfrm>
        <a:prstGeom prst="trapezoid">
          <a:avLst>
            <a:gd name="adj" fmla="val 79781"/>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Administrators</a:t>
          </a:r>
        </a:p>
      </dsp:txBody>
      <dsp:txXfrm rot="-10800000">
        <a:off x="948063" y="0"/>
        <a:ext cx="3521378" cy="1131752"/>
      </dsp:txXfrm>
    </dsp:sp>
    <dsp:sp modelId="{F7566767-6094-47A2-8585-436B7EE19E84}">
      <dsp:nvSpPr>
        <dsp:cNvPr id="0" name=""/>
        <dsp:cNvSpPr/>
      </dsp:nvSpPr>
      <dsp:spPr>
        <a:xfrm rot="10800000">
          <a:off x="902917" y="1131752"/>
          <a:ext cx="3611670" cy="1131752"/>
        </a:xfrm>
        <a:prstGeom prst="trapezoid">
          <a:avLst>
            <a:gd name="adj" fmla="val 79781"/>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Advanced Access &amp; Site Admins</a:t>
          </a:r>
        </a:p>
      </dsp:txBody>
      <dsp:txXfrm rot="-10800000">
        <a:off x="1534960" y="1131752"/>
        <a:ext cx="2347585" cy="1131752"/>
      </dsp:txXfrm>
    </dsp:sp>
    <dsp:sp modelId="{C448F597-BB7C-4B04-B2AA-A3627512097B}">
      <dsp:nvSpPr>
        <dsp:cNvPr id="0" name=""/>
        <dsp:cNvSpPr/>
      </dsp:nvSpPr>
      <dsp:spPr>
        <a:xfrm rot="10800000">
          <a:off x="1805835" y="2263504"/>
          <a:ext cx="1805835" cy="1131752"/>
        </a:xfrm>
        <a:prstGeom prst="trapezoid">
          <a:avLst>
            <a:gd name="adj" fmla="val 79781"/>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t" anchorCtr="0">
          <a:noAutofit/>
        </a:bodyPr>
        <a:lstStyle/>
        <a:p>
          <a:pPr marL="0" lvl="0" indent="0" algn="ctr" defTabSz="444500">
            <a:lnSpc>
              <a:spcPct val="90000"/>
            </a:lnSpc>
            <a:spcBef>
              <a:spcPct val="0"/>
            </a:spcBef>
            <a:spcAft>
              <a:spcPct val="35000"/>
            </a:spcAft>
            <a:buNone/>
          </a:pPr>
          <a:endParaRPr lang="en-US" sz="1000" kern="1200" dirty="0">
            <a:solidFill>
              <a:schemeClr val="bg1"/>
            </a:solidFill>
          </a:endParaRPr>
        </a:p>
        <a:p>
          <a:pPr marL="0" lvl="0" indent="0" algn="ctr" defTabSz="444500">
            <a:lnSpc>
              <a:spcPct val="90000"/>
            </a:lnSpc>
            <a:spcBef>
              <a:spcPct val="0"/>
            </a:spcBef>
            <a:spcAft>
              <a:spcPct val="35000"/>
            </a:spcAft>
            <a:buNone/>
          </a:pPr>
          <a:r>
            <a:rPr lang="en-US" sz="1800" kern="1200" dirty="0">
              <a:solidFill>
                <a:schemeClr val="bg1"/>
              </a:solidFill>
            </a:rPr>
            <a:t>Standard </a:t>
          </a:r>
          <a:br>
            <a:rPr lang="en-US" sz="1800" kern="1200" dirty="0">
              <a:solidFill>
                <a:schemeClr val="bg1"/>
              </a:solidFill>
            </a:rPr>
          </a:br>
          <a:r>
            <a:rPr lang="en-US" sz="1800" kern="1200" dirty="0">
              <a:solidFill>
                <a:schemeClr val="bg1"/>
              </a:solidFill>
            </a:rPr>
            <a:t>Users</a:t>
          </a:r>
        </a:p>
      </dsp:txBody>
      <dsp:txXfrm rot="-10800000">
        <a:off x="1805835" y="2263504"/>
        <a:ext cx="1805835" cy="113175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89FE70-E4CC-485E-84DF-C10FA9CF96B5}">
      <dsp:nvSpPr>
        <dsp:cNvPr id="0" name=""/>
        <dsp:cNvSpPr/>
      </dsp:nvSpPr>
      <dsp:spPr>
        <a:xfrm>
          <a:off x="0" y="3330452"/>
          <a:ext cx="7500582" cy="1093128"/>
        </a:xfrm>
        <a:prstGeom prst="rect">
          <a:avLst/>
        </a:prstGeom>
        <a:solidFill>
          <a:srgbClr val="381360">
            <a:alpha val="50196"/>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Supplemental</a:t>
          </a:r>
        </a:p>
      </dsp:txBody>
      <dsp:txXfrm>
        <a:off x="0" y="3330452"/>
        <a:ext cx="7500582" cy="590289"/>
      </dsp:txXfrm>
    </dsp:sp>
    <dsp:sp modelId="{0BC3E606-3837-407B-B0D7-31618B9CAF71}">
      <dsp:nvSpPr>
        <dsp:cNvPr id="0" name=""/>
        <dsp:cNvSpPr/>
      </dsp:nvSpPr>
      <dsp:spPr>
        <a:xfrm>
          <a:off x="0" y="3898879"/>
          <a:ext cx="3750291" cy="502839"/>
        </a:xfrm>
        <a:prstGeom prst="rect">
          <a:avLst/>
        </a:prstGeom>
        <a:solidFill>
          <a:schemeClr val="accent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Private Training</a:t>
          </a:r>
        </a:p>
      </dsp:txBody>
      <dsp:txXfrm>
        <a:off x="0" y="3898879"/>
        <a:ext cx="3750291" cy="502839"/>
      </dsp:txXfrm>
    </dsp:sp>
    <dsp:sp modelId="{31B5029C-A352-4EA0-8ECC-DE7349293BC8}">
      <dsp:nvSpPr>
        <dsp:cNvPr id="0" name=""/>
        <dsp:cNvSpPr/>
      </dsp:nvSpPr>
      <dsp:spPr>
        <a:xfrm>
          <a:off x="3750291" y="3898879"/>
          <a:ext cx="3750291" cy="502839"/>
        </a:xfrm>
        <a:prstGeom prst="rect">
          <a:avLst/>
        </a:prstGeom>
        <a:solidFill>
          <a:schemeClr val="accent5">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Targeted &amp; New Release Webinars</a:t>
          </a:r>
        </a:p>
      </dsp:txBody>
      <dsp:txXfrm>
        <a:off x="3750291" y="3898879"/>
        <a:ext cx="3750291" cy="502839"/>
      </dsp:txXfrm>
    </dsp:sp>
    <dsp:sp modelId="{5B49E360-B59B-4927-BA06-A3B3AB7F7F98}">
      <dsp:nvSpPr>
        <dsp:cNvPr id="0" name=""/>
        <dsp:cNvSpPr/>
      </dsp:nvSpPr>
      <dsp:spPr>
        <a:xfrm rot="10800000">
          <a:off x="0" y="1665617"/>
          <a:ext cx="7500582" cy="1681232"/>
        </a:xfrm>
        <a:prstGeom prst="upArrowCallout">
          <a:avLst/>
        </a:prstGeom>
        <a:solidFill>
          <a:srgbClr val="381360">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Advanced</a:t>
          </a:r>
        </a:p>
      </dsp:txBody>
      <dsp:txXfrm rot="-10800000">
        <a:off x="0" y="1665617"/>
        <a:ext cx="7500582" cy="590112"/>
      </dsp:txXfrm>
    </dsp:sp>
    <dsp:sp modelId="{EC15AE5C-56AB-4DC6-8BB2-A6FF3D18FD97}">
      <dsp:nvSpPr>
        <dsp:cNvPr id="0" name=""/>
        <dsp:cNvSpPr/>
      </dsp:nvSpPr>
      <dsp:spPr>
        <a:xfrm>
          <a:off x="0" y="2255729"/>
          <a:ext cx="3750291" cy="502688"/>
        </a:xfrm>
        <a:prstGeom prst="rect">
          <a:avLst/>
        </a:prstGeom>
        <a:solidFill>
          <a:schemeClr val="accent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ricot Admin Masterclass</a:t>
          </a:r>
        </a:p>
      </dsp:txBody>
      <dsp:txXfrm>
        <a:off x="0" y="2255729"/>
        <a:ext cx="3750291" cy="502688"/>
      </dsp:txXfrm>
    </dsp:sp>
    <dsp:sp modelId="{5DF95D78-02B8-4F82-B17C-93512972F6FA}">
      <dsp:nvSpPr>
        <dsp:cNvPr id="0" name=""/>
        <dsp:cNvSpPr/>
      </dsp:nvSpPr>
      <dsp:spPr>
        <a:xfrm>
          <a:off x="3750291" y="2255729"/>
          <a:ext cx="3750291" cy="502688"/>
        </a:xfrm>
        <a:prstGeom prst="rect">
          <a:avLst/>
        </a:prstGeom>
        <a:solidFill>
          <a:schemeClr val="accent5">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Advanced Webinars</a:t>
          </a:r>
        </a:p>
      </dsp:txBody>
      <dsp:txXfrm>
        <a:off x="3750291" y="2255729"/>
        <a:ext cx="3750291" cy="502688"/>
      </dsp:txXfrm>
    </dsp:sp>
    <dsp:sp modelId="{54525630-50BA-4DF8-B646-41866B0D161C}">
      <dsp:nvSpPr>
        <dsp:cNvPr id="0" name=""/>
        <dsp:cNvSpPr/>
      </dsp:nvSpPr>
      <dsp:spPr>
        <a:xfrm rot="10800000">
          <a:off x="0" y="782"/>
          <a:ext cx="7500582" cy="168123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Foundations</a:t>
          </a:r>
        </a:p>
      </dsp:txBody>
      <dsp:txXfrm rot="-10800000">
        <a:off x="0" y="782"/>
        <a:ext cx="7500582" cy="590112"/>
      </dsp:txXfrm>
    </dsp:sp>
    <dsp:sp modelId="{44FB48CE-2127-43A6-81BD-7D25BC0186F0}">
      <dsp:nvSpPr>
        <dsp:cNvPr id="0" name=""/>
        <dsp:cNvSpPr/>
      </dsp:nvSpPr>
      <dsp:spPr>
        <a:xfrm>
          <a:off x="0" y="590894"/>
          <a:ext cx="3750291" cy="502688"/>
        </a:xfrm>
        <a:prstGeom prst="rect">
          <a:avLst/>
        </a:prstGeom>
        <a:solidFill>
          <a:schemeClr val="accent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Apricot Admin Foundations or Labs</a:t>
          </a:r>
        </a:p>
      </dsp:txBody>
      <dsp:txXfrm>
        <a:off x="0" y="590894"/>
        <a:ext cx="3750291" cy="502688"/>
      </dsp:txXfrm>
    </dsp:sp>
    <dsp:sp modelId="{9B7ABCBF-58AB-4EFA-A007-BCA4C0454427}">
      <dsp:nvSpPr>
        <dsp:cNvPr id="0" name=""/>
        <dsp:cNvSpPr/>
      </dsp:nvSpPr>
      <dsp:spPr>
        <a:xfrm>
          <a:off x="3750291" y="590894"/>
          <a:ext cx="3750291" cy="502688"/>
        </a:xfrm>
        <a:prstGeom prst="rect">
          <a:avLst/>
        </a:prstGeom>
        <a:solidFill>
          <a:schemeClr val="accent5">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21590" rIns="120904" bIns="21590" numCol="1" spcCol="1270" anchor="ctr" anchorCtr="0">
          <a:noAutofit/>
        </a:bodyPr>
        <a:lstStyle/>
        <a:p>
          <a:pPr marL="0" lvl="0" indent="0" algn="ctr" defTabSz="755650">
            <a:lnSpc>
              <a:spcPct val="90000"/>
            </a:lnSpc>
            <a:spcBef>
              <a:spcPct val="0"/>
            </a:spcBef>
            <a:spcAft>
              <a:spcPct val="35000"/>
            </a:spcAft>
            <a:buNone/>
          </a:pPr>
          <a:r>
            <a:rPr lang="en-US" sz="1700" kern="1200" dirty="0"/>
            <a:t>Foundational Webinars</a:t>
          </a:r>
        </a:p>
      </dsp:txBody>
      <dsp:txXfrm>
        <a:off x="3750291" y="590894"/>
        <a:ext cx="3750291" cy="50268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TitledPictureBlocks">
  <dgm:title val=""/>
  <dgm:desc val=""/>
  <dgm:catLst>
    <dgm:cat type="picture" pri="10000"/>
    <dgm:cat type="pictureconvert" pri="10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rootNode">
    <dgm:varLst>
      <dgm:chMax/>
      <dgm:chPref/>
      <dgm:dir/>
      <dgm:animLvl val="lvl"/>
    </dgm:varLst>
    <dgm:choose name="Name0">
      <dgm:if name="Name1" func="var" arg="dir" op="equ" val="norm">
        <dgm:alg type="snake">
          <dgm:param type="off" val="ctr"/>
          <dgm:param type="grDir" val="tL"/>
        </dgm:alg>
      </dgm:if>
      <dgm:else name="Name2">
        <dgm:alg type="snake">
          <dgm:param type="off" val="ctr"/>
          <dgm:param type="grDir" val="tR"/>
        </dgm:alg>
      </dgm:else>
    </dgm:choose>
    <dgm:shape xmlns:r="http://schemas.openxmlformats.org/officeDocument/2006/relationships" r:blip="">
      <dgm:adjLst/>
    </dgm:shape>
    <dgm:constrLst>
      <dgm:constr type="primFontSz" for="des" forName="ParentText" op="equ"/>
      <dgm:constr type="primFontSz" for="des" forName="ChildText" op="equ"/>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787"/>
        </dgm:alg>
        <dgm:shape xmlns:r="http://schemas.openxmlformats.org/officeDocument/2006/relationships" r:blip="">
          <dgm:adjLst/>
        </dgm:shape>
        <dgm:choose name="Name3">
          <dgm:if name="Name4" func="var" arg="dir" op="equ" val="norm">
            <dgm:constrLst>
              <dgm:constr type="l" for="ch" forName="ParentText" refType="w" fact="0"/>
              <dgm:constr type="t" for="ch" forName="ParentText" refType="h" fact="0"/>
              <dgm:constr type="w" for="ch" forName="ParentText" refType="w" fact="0.7457"/>
              <dgm:constr type="h" for="ch" forName="ParentText" refType="h" fact="0.15"/>
              <dgm:constr type="l" for="ch" forName="Image" refType="w" fact="0"/>
              <dgm:constr type="t" for="ch" forName="Image" refType="h" fact="0.1661"/>
              <dgm:constr type="w" for="ch" forName="Image" refType="w" fact="0.7457"/>
              <dgm:constr type="h" for="ch" forName="Image" refType="h" fact="0.8711"/>
              <dgm:constr type="l" for="ch" forName="ChildText" refType="w" fact="0.6464"/>
              <dgm:constr type="t" for="ch" forName="ChildText" refType="h" fact="0.288"/>
              <dgm:constr type="w" for="ch" forName="ChildText" refType="w" fact="0.3536"/>
              <dgm:constr type="h" for="ch" forName="ChildText" refType="h" fact="0.5074"/>
            </dgm:constrLst>
          </dgm:if>
          <dgm:else name="Name5">
            <dgm:constrLst>
              <dgm:constr type="l" for="ch" forName="ParentText" refType="w" fact="0.26"/>
              <dgm:constr type="t" for="ch" forName="ParentText" refType="h" fact="0"/>
              <dgm:constr type="w" for="ch" forName="ParentText" refType="w" fact="0.7457"/>
              <dgm:constr type="h" for="ch" forName="ParentText" refType="h" fact="0.15"/>
              <dgm:constr type="l" for="ch" forName="Image" refType="w" fact="0.26"/>
              <dgm:constr type="t" for="ch" forName="Image" refType="h" fact="0.1661"/>
              <dgm:constr type="w" for="ch" forName="Image" refType="w" fact="0.7446"/>
              <dgm:constr type="h" for="ch" forName="Image" refType="h" fact="0.8711"/>
              <dgm:constr type="l" for="ch" forName="ChildText" refType="w" fact="0"/>
              <dgm:constr type="t" for="ch" forName="ChildText" refType="h" fact="0.288"/>
              <dgm:constr type="w" for="ch" forName="ChildText" refType="w" fact="0.3536"/>
              <dgm:constr type="h" for="ch" forName="ChildText" refType="h" fact="0.5074"/>
            </dgm:constrLst>
          </dgm:else>
        </dgm:choose>
        <dgm:layoutNode name="ParentText" styleLbl="node1">
          <dgm:varLst>
            <dgm:chMax val="1"/>
            <dgm:chPref val="1"/>
            <dgm:bulletEnabled val="1"/>
          </dgm:varLst>
          <dgm:alg type="tx"/>
          <dgm:shape xmlns:r="http://schemas.openxmlformats.org/officeDocument/2006/relationships" type="rect" r:blip="" zOrderOff="10">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Image" styleLbl="bgImgPlace1">
          <dgm:alg type="sp"/>
          <dgm:shape xmlns:r="http://schemas.openxmlformats.org/officeDocument/2006/relationships" type="rect" r:blip="" blipPhldr="1">
            <dgm:adjLst/>
          </dgm:shape>
          <dgm:presOf/>
        </dgm:layoutNode>
        <dgm:layoutNode name="ChildText" styleLbl="fgAcc1">
          <dgm:varLst>
            <dgm:chMax val="0"/>
            <dgm:chPref val="0"/>
            <dgm:bulletEnabled val="1"/>
          </dgm:varLst>
          <dgm:choose name="Name6">
            <dgm:if name="Name7" axis="des" ptType="node" func="cnt" op="equ" val="1">
              <dgm:alg type="tx">
                <dgm:param type="stBulletLvl" val="2"/>
                <dgm:param type="txAnchorVertCh" val="mid"/>
                <dgm:param type="parTxLTRAlign" val="l"/>
              </dgm:alg>
            </dgm:if>
            <dgm:else name="Name8">
              <dgm:alg type="tx">
                <dgm:param type="stBulletLvl" val="1"/>
                <dgm:param type="txAnchorVertCh" val="mid"/>
              </dgm:alg>
            </dgm:else>
          </dgm:choose>
          <dgm:choose name="Name9">
            <dgm:if name="Name10" axis="ch" ptType="node" func="cnt" op="gte" val="1">
              <dgm:shape xmlns:r="http://schemas.openxmlformats.org/officeDocument/2006/relationships" type="roundRect" r:blip="">
                <dgm:adjLst>
                  <dgm:adj idx="1" val="0.1"/>
                </dgm:adjLst>
              </dgm:shape>
              <dgm:presOf axis="des" ptType="node"/>
            </dgm:if>
            <dgm:else name="Name11">
              <dgm:shape xmlns:r="http://schemas.openxmlformats.org/officeDocument/2006/relationships" type="roundRect" r:blip="" hideGeom="1">
                <dgm:adjLst>
                  <dgm:adj idx="1" val="0.1"/>
                </dgm:adjLst>
              </dgm:shape>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D94EA7-739B-4A87-B872-A28311C794CC}" type="datetimeFigureOut">
              <a:rPr lang="en-US" smtClean="0"/>
              <a:t>12/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646CA7-A35C-4C75-8327-49AD30806004}" type="slidenum">
              <a:rPr lang="en-US" smtClean="0"/>
              <a:t>‹#›</a:t>
            </a:fld>
            <a:endParaRPr lang="en-US"/>
          </a:p>
        </p:txBody>
      </p:sp>
    </p:spTree>
    <p:extLst>
      <p:ext uri="{BB962C8B-B14F-4D97-AF65-F5344CB8AC3E}">
        <p14:creationId xmlns:p14="http://schemas.microsoft.com/office/powerpoint/2010/main" val="842833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8" Type="http://schemas.openxmlformats.org/officeDocument/2006/relationships/hyperlink" Target="https://bonterraacademy.bonterratech.com/" TargetMode="External"/><Relationship Id="rId3" Type="http://schemas.openxmlformats.org/officeDocument/2006/relationships/hyperlink" Target="https://apricot-articles.socialsolutions.com/en/" TargetMode="External"/><Relationship Id="rId7" Type="http://schemas.openxmlformats.org/officeDocument/2006/relationships/hyperlink" Target="https://bonterraacademy.bonterratech.com/self-signup/index"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learn.bonterratech.com/customer-newsletter-subscriptions.html" TargetMode="External"/><Relationship Id="rId5" Type="http://schemas.openxmlformats.org/officeDocument/2006/relationships/hyperlink" Target="https://www.bonterratech.com/contact-us" TargetMode="External"/><Relationship Id="rId4" Type="http://schemas.openxmlformats.org/officeDocument/2006/relationships/hyperlink" Target="https://www.bonterratech.com/training#apricot" TargetMode="External"/><Relationship Id="rId9" Type="http://schemas.openxmlformats.org/officeDocument/2006/relationships/hyperlink" Target="https://apricot-articles.socialsolutions.com/en/articles/8952258-apricot-private-training-menu"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Speaker Notes</a:t>
            </a:r>
            <a:r>
              <a:rPr lang="en-US" dirty="0"/>
              <a:t>:</a:t>
            </a:r>
          </a:p>
          <a:p>
            <a:pPr marL="171450" indent="-171450">
              <a:buFont typeface="Arial" panose="020B0604020202020204" pitchFamily="34" charset="0"/>
              <a:buChar char="•"/>
            </a:pPr>
            <a:r>
              <a:rPr lang="en-US" dirty="0"/>
              <a:t>Welcome! Thank you for joining our Apricot Certification Exam Prep course.</a:t>
            </a:r>
          </a:p>
          <a:p>
            <a:pPr marL="171450" indent="-171450">
              <a:buFont typeface="Arial" panose="020B0604020202020204" pitchFamily="34" charset="0"/>
              <a:buChar char="•"/>
            </a:pPr>
            <a:r>
              <a:rPr lang="en-US" dirty="0"/>
              <a:t>This is a 2 hour session designed to set you up for success with our exam.</a:t>
            </a:r>
          </a:p>
          <a:p>
            <a:pPr marL="171450" indent="-171450">
              <a:buFont typeface="Arial" panose="020B0604020202020204" pitchFamily="34" charset="0"/>
              <a:buChar char="•"/>
            </a:pPr>
            <a:r>
              <a:rPr lang="en-US" dirty="0"/>
              <a:t>We will go over what to expect, some key areas of competency and then have plenty of time for Q&amp;A.</a:t>
            </a:r>
          </a:p>
        </p:txBody>
      </p:sp>
      <p:sp>
        <p:nvSpPr>
          <p:cNvPr id="4" name="Slide Number Placeholder 3"/>
          <p:cNvSpPr>
            <a:spLocks noGrp="1"/>
          </p:cNvSpPr>
          <p:nvPr>
            <p:ph type="sldNum" sz="quarter" idx="5"/>
          </p:nvPr>
        </p:nvSpPr>
        <p:spPr/>
        <p:txBody>
          <a:bodyPr/>
          <a:lstStyle/>
          <a:p>
            <a:fld id="{FD646CA7-A35C-4C75-8327-49AD30806004}" type="slidenum">
              <a:rPr lang="en-US" smtClean="0"/>
              <a:t>1</a:t>
            </a:fld>
            <a:endParaRPr lang="en-US"/>
          </a:p>
        </p:txBody>
      </p:sp>
    </p:spTree>
    <p:extLst>
      <p:ext uri="{BB962C8B-B14F-4D97-AF65-F5344CB8AC3E}">
        <p14:creationId xmlns:p14="http://schemas.microsoft.com/office/powerpoint/2010/main" val="279179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all the areas involved in designing forms that they need to know.</a:t>
            </a:r>
          </a:p>
          <a:p>
            <a:endParaRPr lang="en-US" dirty="0"/>
          </a:p>
          <a:p>
            <a:r>
              <a:rPr lang="en-US" b="1" dirty="0"/>
              <a:t>Speaker Notes</a:t>
            </a:r>
            <a:r>
              <a:rPr lang="en-US" dirty="0"/>
              <a:t>:</a:t>
            </a:r>
          </a:p>
          <a:p>
            <a:pPr marL="171450" indent="-171450">
              <a:buFont typeface="Arial" panose="020B0604020202020204" pitchFamily="34" charset="0"/>
              <a:buChar char="•"/>
            </a:pPr>
            <a:r>
              <a:rPr lang="en-US" dirty="0"/>
              <a:t>Now let’s get into Form Design as this is a key component of data collection in Apricot.</a:t>
            </a:r>
          </a:p>
          <a:p>
            <a:pPr marL="171450" indent="-171450">
              <a:buFont typeface="Arial" panose="020B0604020202020204" pitchFamily="34" charset="0"/>
              <a:buChar char="•"/>
            </a:pPr>
            <a:r>
              <a:rPr lang="en-US" dirty="0"/>
              <a:t>It’s important that you understand the difference between Tier 1 and Tier 2 forms with the types of data each should collect.</a:t>
            </a:r>
          </a:p>
          <a:p>
            <a:pPr marL="171450" indent="-171450">
              <a:buFont typeface="Arial" panose="020B0604020202020204" pitchFamily="34" charset="0"/>
              <a:buChar char="•"/>
            </a:pPr>
            <a:r>
              <a:rPr lang="en-US" dirty="0"/>
              <a:t>We also want our Admins to know how to make use of pre-built templates to save time and take advantage of industry best practices.</a:t>
            </a:r>
          </a:p>
        </p:txBody>
      </p:sp>
      <p:sp>
        <p:nvSpPr>
          <p:cNvPr id="4" name="Slide Number Placeholder 3"/>
          <p:cNvSpPr>
            <a:spLocks noGrp="1"/>
          </p:cNvSpPr>
          <p:nvPr>
            <p:ph type="sldNum" sz="quarter" idx="5"/>
          </p:nvPr>
        </p:nvSpPr>
        <p:spPr/>
        <p:txBody>
          <a:bodyPr/>
          <a:lstStyle/>
          <a:p>
            <a:fld id="{FD646CA7-A35C-4C75-8327-49AD30806004}" type="slidenum">
              <a:rPr lang="en-US" smtClean="0"/>
              <a:t>10</a:t>
            </a:fld>
            <a:endParaRPr lang="en-US"/>
          </a:p>
        </p:txBody>
      </p:sp>
    </p:spTree>
    <p:extLst>
      <p:ext uri="{BB962C8B-B14F-4D97-AF65-F5344CB8AC3E}">
        <p14:creationId xmlns:p14="http://schemas.microsoft.com/office/powerpoint/2010/main" val="15378258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esson</a:t>
            </a:r>
            <a:r>
              <a:rPr lang="en-US" dirty="0"/>
              <a:t>: Review of all the areas involved in designing forms that they need to know.</a:t>
            </a:r>
          </a:p>
          <a:p>
            <a:endParaRPr lang="en-US" dirty="0"/>
          </a:p>
          <a:p>
            <a:r>
              <a:rPr lang="en-US" b="1" dirty="0"/>
              <a:t>Speaker Notes</a:t>
            </a:r>
            <a:r>
              <a:rPr lang="en-US" dirty="0"/>
              <a:t>:</a:t>
            </a:r>
          </a:p>
          <a:p>
            <a:pPr marL="171450" indent="-171450">
              <a:buFont typeface="Arial" panose="020B0604020202020204" pitchFamily="34" charset="0"/>
              <a:buChar char="•"/>
            </a:pPr>
            <a:r>
              <a:rPr lang="en-US" dirty="0"/>
              <a:t>You’ll need to know what you can enable at the form level in terms of properties and when each is a good idea such as Batch Record Creation, Record Copy, Form Logic, etc.</a:t>
            </a:r>
          </a:p>
          <a:p>
            <a:pPr marL="171450" indent="-171450">
              <a:buFont typeface="Arial" panose="020B0604020202020204" pitchFamily="34" charset="0"/>
              <a:buChar char="•"/>
            </a:pPr>
            <a:r>
              <a:rPr lang="en-US" dirty="0"/>
              <a:t>Program Assignment Type is it’s own area of potential with the 3 options that suit different use cases. This impacts data access, security and user workflow.</a:t>
            </a:r>
          </a:p>
        </p:txBody>
      </p:sp>
      <p:sp>
        <p:nvSpPr>
          <p:cNvPr id="4" name="Slide Number Placeholder 3"/>
          <p:cNvSpPr>
            <a:spLocks noGrp="1"/>
          </p:cNvSpPr>
          <p:nvPr>
            <p:ph type="sldNum" sz="quarter" idx="5"/>
          </p:nvPr>
        </p:nvSpPr>
        <p:spPr/>
        <p:txBody>
          <a:bodyPr/>
          <a:lstStyle/>
          <a:p>
            <a:fld id="{FD646CA7-A35C-4C75-8327-49AD30806004}" type="slidenum">
              <a:rPr lang="en-US" smtClean="0"/>
              <a:t>11</a:t>
            </a:fld>
            <a:endParaRPr lang="en-US"/>
          </a:p>
        </p:txBody>
      </p:sp>
    </p:spTree>
    <p:extLst>
      <p:ext uri="{BB962C8B-B14F-4D97-AF65-F5344CB8AC3E}">
        <p14:creationId xmlns:p14="http://schemas.microsoft.com/office/powerpoint/2010/main" val="2993922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esson</a:t>
            </a:r>
            <a:r>
              <a:rPr lang="en-US" dirty="0"/>
              <a:t>: Review of all the areas involved in designing forms that they need to know.</a:t>
            </a:r>
          </a:p>
          <a:p>
            <a:endParaRPr lang="en-US" dirty="0"/>
          </a:p>
          <a:p>
            <a:r>
              <a:rPr lang="en-US" b="1" dirty="0"/>
              <a:t>Speaker Notes</a:t>
            </a:r>
            <a:r>
              <a:rPr lang="en-US" dirty="0"/>
              <a:t>:</a:t>
            </a:r>
          </a:p>
          <a:p>
            <a:pPr marL="171450" indent="-171450">
              <a:buFont typeface="Arial" panose="020B0604020202020204" pitchFamily="34" charset="0"/>
              <a:buChar char="•"/>
            </a:pPr>
            <a:r>
              <a:rPr lang="en-US" dirty="0"/>
              <a:t>For fields you add to your forms, it’s important to consider what type of data you are collecting and which field format will suit you best. This is especially key when it comes to being able to report back to your stakeholders. Is the data you’re collecting going to yield itself to statistical reporting?</a:t>
            </a:r>
          </a:p>
          <a:p>
            <a:pPr marL="171450" indent="-171450">
              <a:buFont typeface="Arial" panose="020B0604020202020204" pitchFamily="34" charset="0"/>
              <a:buChar char="•"/>
            </a:pPr>
            <a:r>
              <a:rPr lang="en-US" dirty="0"/>
              <a:t>Then you will need to be confident with the different field properties you can configure to ensure you are clear about each data point. How do you ensure your staff knows what data you are asking for and make the information easy to manage?</a:t>
            </a:r>
          </a:p>
        </p:txBody>
      </p:sp>
      <p:sp>
        <p:nvSpPr>
          <p:cNvPr id="4" name="Slide Number Placeholder 3"/>
          <p:cNvSpPr>
            <a:spLocks noGrp="1"/>
          </p:cNvSpPr>
          <p:nvPr>
            <p:ph type="sldNum" sz="quarter" idx="5"/>
          </p:nvPr>
        </p:nvSpPr>
        <p:spPr/>
        <p:txBody>
          <a:bodyPr/>
          <a:lstStyle/>
          <a:p>
            <a:fld id="{FD646CA7-A35C-4C75-8327-49AD30806004}" type="slidenum">
              <a:rPr lang="en-US" smtClean="0"/>
              <a:t>12</a:t>
            </a:fld>
            <a:endParaRPr lang="en-US"/>
          </a:p>
        </p:txBody>
      </p:sp>
    </p:spTree>
    <p:extLst>
      <p:ext uri="{BB962C8B-B14F-4D97-AF65-F5344CB8AC3E}">
        <p14:creationId xmlns:p14="http://schemas.microsoft.com/office/powerpoint/2010/main" val="28181443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esson</a:t>
            </a:r>
            <a:r>
              <a:rPr lang="en-US" dirty="0"/>
              <a:t>: Review of all the areas involved in designing forms that they need to know.</a:t>
            </a:r>
          </a:p>
          <a:p>
            <a:endParaRPr lang="en-US" dirty="0"/>
          </a:p>
          <a:p>
            <a:r>
              <a:rPr lang="en-US" b="1" dirty="0"/>
              <a:t>Speaker Notes</a:t>
            </a:r>
            <a:r>
              <a:rPr lang="en-US" dirty="0"/>
              <a:t>:</a:t>
            </a:r>
          </a:p>
          <a:p>
            <a:pPr marL="171450" indent="-171450">
              <a:buFont typeface="Arial" panose="020B0604020202020204" pitchFamily="34" charset="0"/>
              <a:buChar char="•"/>
            </a:pPr>
            <a:r>
              <a:rPr lang="en-US" dirty="0"/>
              <a:t>A few other advanced components to consider:</a:t>
            </a:r>
          </a:p>
          <a:p>
            <a:pPr marL="171450" lvl="0" indent="-171450">
              <a:buFont typeface="Arial" panose="020B0604020202020204" pitchFamily="34" charset="0"/>
              <a:buChar char="•"/>
            </a:pPr>
            <a:r>
              <a:rPr lang="en-US" dirty="0"/>
              <a:t>Lookup lists to save you time and make your lists of answer choices more consistent.</a:t>
            </a:r>
          </a:p>
          <a:p>
            <a:pPr marL="171450" lvl="0" indent="-171450">
              <a:buFont typeface="Arial" panose="020B0604020202020204" pitchFamily="34" charset="0"/>
              <a:buChar char="•"/>
            </a:pPr>
            <a:r>
              <a:rPr lang="en-US" dirty="0"/>
              <a:t>Smart lists can be used as a dynamic option based on data you are collecting elsewhere in Apricot.</a:t>
            </a:r>
          </a:p>
          <a:p>
            <a:pPr marL="171450" lvl="0" indent="-171450">
              <a:buFont typeface="Arial" panose="020B0604020202020204" pitchFamily="34" charset="0"/>
              <a:buChar char="•"/>
            </a:pPr>
            <a:r>
              <a:rPr lang="en-US" dirty="0"/>
              <a:t>Make sure you understand the how and why of Linking Fields to show a relationship between records.</a:t>
            </a:r>
          </a:p>
          <a:p>
            <a:pPr marL="171450" lvl="0" indent="-171450">
              <a:buFont typeface="Arial" panose="020B0604020202020204" pitchFamily="34" charset="0"/>
              <a:buChar char="•"/>
            </a:pPr>
            <a:r>
              <a:rPr lang="en-US" dirty="0"/>
              <a:t>And Form Logic is a good way to uplevel your forms with some automation based on data entered. </a:t>
            </a:r>
          </a:p>
        </p:txBody>
      </p:sp>
      <p:sp>
        <p:nvSpPr>
          <p:cNvPr id="4" name="Slide Number Placeholder 3"/>
          <p:cNvSpPr>
            <a:spLocks noGrp="1"/>
          </p:cNvSpPr>
          <p:nvPr>
            <p:ph type="sldNum" sz="quarter" idx="5"/>
          </p:nvPr>
        </p:nvSpPr>
        <p:spPr/>
        <p:txBody>
          <a:bodyPr/>
          <a:lstStyle/>
          <a:p>
            <a:fld id="{FD646CA7-A35C-4C75-8327-49AD30806004}" type="slidenum">
              <a:rPr lang="en-US" smtClean="0"/>
              <a:t>13</a:t>
            </a:fld>
            <a:endParaRPr lang="en-US"/>
          </a:p>
        </p:txBody>
      </p:sp>
    </p:spTree>
    <p:extLst>
      <p:ext uri="{BB962C8B-B14F-4D97-AF65-F5344CB8AC3E}">
        <p14:creationId xmlns:p14="http://schemas.microsoft.com/office/powerpoint/2010/main" val="1340842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Lesson</a:t>
            </a:r>
            <a:r>
              <a:rPr lang="en-US" dirty="0"/>
              <a:t>: Review of all the areas involved in designing forms that they need to know.</a:t>
            </a:r>
          </a:p>
          <a:p>
            <a:endParaRPr lang="en-US" dirty="0"/>
          </a:p>
          <a:p>
            <a:r>
              <a:rPr lang="en-US" b="1" dirty="0"/>
              <a:t>Speaker Notes</a:t>
            </a:r>
            <a:r>
              <a:rPr lang="en-US" dirty="0"/>
              <a:t>:</a:t>
            </a:r>
          </a:p>
          <a:p>
            <a:pPr marL="171450" indent="-171450">
              <a:buFont typeface="Arial" panose="020B0604020202020204" pitchFamily="34" charset="0"/>
              <a:buChar char="•"/>
            </a:pPr>
            <a:r>
              <a:rPr lang="en-US" dirty="0"/>
              <a:t>Lastly, knowing that your Apricot will need to grow and evolve with your organization, it’s important you understand the nuances of editing forms and protecting any data that’s been entered.</a:t>
            </a:r>
          </a:p>
          <a:p>
            <a:pPr marL="171450" indent="-171450">
              <a:buFont typeface="Arial" panose="020B0604020202020204" pitchFamily="34" charset="0"/>
              <a:buChar char="•"/>
            </a:pPr>
            <a:r>
              <a:rPr lang="en-US" dirty="0"/>
              <a:t>This includes understanding our Data Import tool, whether you are uploading new information or moving data from one place to another within Apricot.</a:t>
            </a:r>
          </a:p>
        </p:txBody>
      </p:sp>
      <p:sp>
        <p:nvSpPr>
          <p:cNvPr id="4" name="Slide Number Placeholder 3"/>
          <p:cNvSpPr>
            <a:spLocks noGrp="1"/>
          </p:cNvSpPr>
          <p:nvPr>
            <p:ph type="sldNum" sz="quarter" idx="5"/>
          </p:nvPr>
        </p:nvSpPr>
        <p:spPr/>
        <p:txBody>
          <a:bodyPr/>
          <a:lstStyle/>
          <a:p>
            <a:fld id="{FD646CA7-A35C-4C75-8327-49AD30806004}" type="slidenum">
              <a:rPr lang="en-US" smtClean="0"/>
              <a:t>14</a:t>
            </a:fld>
            <a:endParaRPr lang="en-US"/>
          </a:p>
        </p:txBody>
      </p:sp>
    </p:spTree>
    <p:extLst>
      <p:ext uri="{BB962C8B-B14F-4D97-AF65-F5344CB8AC3E}">
        <p14:creationId xmlns:p14="http://schemas.microsoft.com/office/powerpoint/2010/main" val="2555466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Overview of different use cases you need to know how to set up in Apricot. </a:t>
            </a:r>
          </a:p>
          <a:p>
            <a:endParaRPr lang="en-US" dirty="0"/>
          </a:p>
          <a:p>
            <a:r>
              <a:rPr lang="en-US" b="1" dirty="0"/>
              <a:t>Speaker Notes</a:t>
            </a:r>
            <a:r>
              <a:rPr lang="en-US" dirty="0"/>
              <a:t>:</a:t>
            </a:r>
          </a:p>
          <a:p>
            <a:pPr marL="171450" indent="-171450">
              <a:buFont typeface="Arial" panose="020B0604020202020204" pitchFamily="34" charset="0"/>
              <a:buChar char="•"/>
            </a:pPr>
            <a:r>
              <a:rPr lang="en-US" dirty="0"/>
              <a:t>Building on how to design forms, there are common nonprofit data collection use cases we recommend knowing, each with options and specific features to meet different situations.</a:t>
            </a:r>
          </a:p>
          <a:p>
            <a:pPr marL="171450" indent="-171450">
              <a:buFont typeface="Arial" panose="020B0604020202020204" pitchFamily="34" charset="0"/>
              <a:buChar char="•"/>
            </a:pPr>
            <a:r>
              <a:rPr lang="en-US" dirty="0"/>
              <a:t>For example, Admins should understand how to collect and manage demographics at the Tier 1 profile level.</a:t>
            </a:r>
          </a:p>
          <a:p>
            <a:pPr marL="171450" indent="-171450">
              <a:buFont typeface="Arial" panose="020B0604020202020204" pitchFamily="34" charset="0"/>
              <a:buChar char="•"/>
            </a:pPr>
            <a:r>
              <a:rPr lang="en-US" dirty="0"/>
              <a:t>For organizations that work with or at least want to track families, there’s Household profiles.</a:t>
            </a:r>
          </a:p>
          <a:p>
            <a:pPr marL="171450" indent="-171450">
              <a:buFont typeface="Arial" panose="020B0604020202020204" pitchFamily="34" charset="0"/>
              <a:buChar char="•"/>
            </a:pPr>
            <a:r>
              <a:rPr lang="en-US" dirty="0"/>
              <a:t>Services are perhaps the most common when it comes to tracking the outputs you deliver to your Participants, and there are a variety of designs based on what type of services you deliver, how many per visit, etc.</a:t>
            </a:r>
          </a:p>
          <a:p>
            <a:pPr marL="171450" indent="-171450">
              <a:buFont typeface="Arial" panose="020B0604020202020204" pitchFamily="34" charset="0"/>
              <a:buChar char="•"/>
            </a:pPr>
            <a:r>
              <a:rPr lang="en-US" dirty="0"/>
              <a:t>When you host classes, events or any type of group activities, consider the different features Apricot offers to track attendance.</a:t>
            </a:r>
          </a:p>
          <a:p>
            <a:pPr marL="171450" indent="-171450">
              <a:buFont typeface="Arial" panose="020B0604020202020204" pitchFamily="34" charset="0"/>
              <a:buChar char="•"/>
            </a:pPr>
            <a:r>
              <a:rPr lang="en-US" dirty="0"/>
              <a:t>Knowing that it often takes a community effort to support some participants, we recommend being familiar with how you can handle different types of referrals.</a:t>
            </a:r>
          </a:p>
          <a:p>
            <a:pPr marL="171450" indent="-171450">
              <a:buFont typeface="Arial" panose="020B0604020202020204" pitchFamily="34" charset="0"/>
              <a:buChar char="•"/>
            </a:pPr>
            <a:r>
              <a:rPr lang="en-US" dirty="0"/>
              <a:t>Surveys and Assessments track a unique kind of data and Admins should know how to make the qualitative into quantitative results.</a:t>
            </a:r>
          </a:p>
          <a:p>
            <a:pPr marL="171450" indent="-171450">
              <a:buFont typeface="Arial" panose="020B0604020202020204" pitchFamily="34" charset="0"/>
              <a:buChar char="•"/>
            </a:pPr>
            <a:r>
              <a:rPr lang="en-US" dirty="0"/>
              <a:t>Then there is our newer Inventory feature for tracking physical goods, whether you are a shelter with beds or a food pantry.</a:t>
            </a:r>
          </a:p>
        </p:txBody>
      </p:sp>
      <p:sp>
        <p:nvSpPr>
          <p:cNvPr id="4" name="Slide Number Placeholder 3"/>
          <p:cNvSpPr>
            <a:spLocks noGrp="1"/>
          </p:cNvSpPr>
          <p:nvPr>
            <p:ph type="sldNum" sz="quarter" idx="5"/>
          </p:nvPr>
        </p:nvSpPr>
        <p:spPr/>
        <p:txBody>
          <a:bodyPr/>
          <a:lstStyle/>
          <a:p>
            <a:fld id="{FD646CA7-A35C-4C75-8327-49AD30806004}" type="slidenum">
              <a:rPr lang="en-US" smtClean="0"/>
              <a:t>15</a:t>
            </a:fld>
            <a:endParaRPr lang="en-US"/>
          </a:p>
        </p:txBody>
      </p:sp>
    </p:spTree>
    <p:extLst>
      <p:ext uri="{BB962C8B-B14F-4D97-AF65-F5344CB8AC3E}">
        <p14:creationId xmlns:p14="http://schemas.microsoft.com/office/powerpoint/2010/main" val="1627406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key knowledge areas in reporting</a:t>
            </a:r>
          </a:p>
          <a:p>
            <a:endParaRPr lang="en-US" dirty="0"/>
          </a:p>
          <a:p>
            <a:r>
              <a:rPr lang="en-US" b="1" dirty="0"/>
              <a:t>Speaker Notes</a:t>
            </a:r>
            <a:r>
              <a:rPr lang="en-US" dirty="0"/>
              <a:t>:</a:t>
            </a:r>
          </a:p>
          <a:p>
            <a:pPr marL="171450" indent="-171450">
              <a:buFont typeface="Arial" panose="020B0604020202020204" pitchFamily="34" charset="0"/>
              <a:buChar char="•"/>
            </a:pPr>
            <a:r>
              <a:rPr lang="en-US" dirty="0"/>
              <a:t>Now let’s get into reporting, specifically the tool available within Apricot itself (as opposed to Results Reporting which comes with Apricot 360).</a:t>
            </a:r>
          </a:p>
          <a:p>
            <a:pPr marL="171450" indent="-171450">
              <a:buFont typeface="Arial" panose="020B0604020202020204" pitchFamily="34" charset="0"/>
              <a:buChar char="•"/>
            </a:pPr>
            <a:r>
              <a:rPr lang="en-US" dirty="0"/>
              <a:t>Of course, you want to know the foundations of building reports in Apricot, how to drag and drop fields, starting with the right root form and adjusting the settings to accommodate any layers of complexity like linked records.</a:t>
            </a:r>
          </a:p>
          <a:p>
            <a:pPr marL="171450" indent="-171450">
              <a:buFont typeface="Arial" panose="020B0604020202020204" pitchFamily="34" charset="0"/>
              <a:buChar char="•"/>
            </a:pPr>
            <a:r>
              <a:rPr lang="en-US" dirty="0"/>
              <a:t>It’s also key to consider Section properties that allow you to change the display style, add a graph or copy the section to make a new version.</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16</a:t>
            </a:fld>
            <a:endParaRPr lang="en-US"/>
          </a:p>
        </p:txBody>
      </p:sp>
    </p:spTree>
    <p:extLst>
      <p:ext uri="{BB962C8B-B14F-4D97-AF65-F5344CB8AC3E}">
        <p14:creationId xmlns:p14="http://schemas.microsoft.com/office/powerpoint/2010/main" val="16123699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key knowledge areas in reporting</a:t>
            </a:r>
          </a:p>
          <a:p>
            <a:endParaRPr lang="en-US" dirty="0"/>
          </a:p>
          <a:p>
            <a:r>
              <a:rPr lang="en-US" b="1" dirty="0"/>
              <a:t>Speaker Notes</a:t>
            </a:r>
            <a:r>
              <a:rPr lang="en-US" dirty="0"/>
              <a:t>:</a:t>
            </a:r>
          </a:p>
          <a:p>
            <a:pPr marL="171450" indent="-171450">
              <a:buFont typeface="Arial" panose="020B0604020202020204" pitchFamily="34" charset="0"/>
              <a:buChar char="•"/>
            </a:pPr>
            <a:r>
              <a:rPr lang="en-US" dirty="0"/>
              <a:t>Then you have the different column properties with every data point you pull into your report, like display styles to convert the data in some way and Summaries to have Apricot do some initial analysis.</a:t>
            </a:r>
          </a:p>
          <a:p>
            <a:pPr marL="171450" indent="-171450">
              <a:buFont typeface="Arial" panose="020B0604020202020204" pitchFamily="34" charset="0"/>
              <a:buChar char="•"/>
            </a:pPr>
            <a:r>
              <a:rPr lang="en-US" dirty="0"/>
              <a:t>Filters are another area with lots of potential to help you make the most of your reporting by strategically focusing what data is included.</a:t>
            </a:r>
          </a:p>
        </p:txBody>
      </p:sp>
      <p:sp>
        <p:nvSpPr>
          <p:cNvPr id="4" name="Slide Number Placeholder 3"/>
          <p:cNvSpPr>
            <a:spLocks noGrp="1"/>
          </p:cNvSpPr>
          <p:nvPr>
            <p:ph type="sldNum" sz="quarter" idx="5"/>
          </p:nvPr>
        </p:nvSpPr>
        <p:spPr/>
        <p:txBody>
          <a:bodyPr/>
          <a:lstStyle/>
          <a:p>
            <a:fld id="{FD646CA7-A35C-4C75-8327-49AD30806004}" type="slidenum">
              <a:rPr lang="en-US" smtClean="0"/>
              <a:t>17</a:t>
            </a:fld>
            <a:endParaRPr lang="en-US"/>
          </a:p>
        </p:txBody>
      </p:sp>
    </p:spTree>
    <p:extLst>
      <p:ext uri="{BB962C8B-B14F-4D97-AF65-F5344CB8AC3E}">
        <p14:creationId xmlns:p14="http://schemas.microsoft.com/office/powerpoint/2010/main" val="2919066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key knowledge areas in reporting</a:t>
            </a:r>
          </a:p>
          <a:p>
            <a:endParaRPr lang="en-US" dirty="0"/>
          </a:p>
          <a:p>
            <a:r>
              <a:rPr lang="en-US" b="1" dirty="0"/>
              <a:t>Speaker Notes</a:t>
            </a:r>
            <a:r>
              <a:rPr lang="en-US" dirty="0"/>
              <a:t>:</a:t>
            </a:r>
          </a:p>
          <a:p>
            <a:pPr marL="171450" indent="-171450">
              <a:buFont typeface="Arial" panose="020B0604020202020204" pitchFamily="34" charset="0"/>
              <a:buChar char="•"/>
            </a:pPr>
            <a:r>
              <a:rPr lang="en-US" dirty="0"/>
              <a:t>Other ways in which you can customize your reports and provide your stakeholders with more of a story of your impact:</a:t>
            </a:r>
          </a:p>
          <a:p>
            <a:pPr marL="171450" indent="-171450">
              <a:buFont typeface="Arial" panose="020B0604020202020204" pitchFamily="34" charset="0"/>
              <a:buChar char="•"/>
            </a:pPr>
            <a:r>
              <a:rPr lang="en-US" dirty="0"/>
              <a:t>Grouping allows Apricot to give you totals across different categories of data, especially great for Option fields.</a:t>
            </a:r>
          </a:p>
          <a:p>
            <a:pPr marL="171450" indent="-171450">
              <a:buFont typeface="Arial" panose="020B0604020202020204" pitchFamily="34" charset="0"/>
              <a:buChar char="•"/>
            </a:pPr>
            <a:r>
              <a:rPr lang="en-US" dirty="0"/>
              <a:t>Graphs add a nice visual element for understanding the data at a glance.</a:t>
            </a:r>
          </a:p>
          <a:p>
            <a:pPr marL="171450" indent="-171450">
              <a:buFont typeface="Arial" panose="020B0604020202020204" pitchFamily="34" charset="0"/>
              <a:buChar char="•"/>
            </a:pPr>
            <a:r>
              <a:rPr lang="en-US" dirty="0"/>
              <a:t>Special Columns come in to play with you want to apply math across a Row or pull summaries from individual sections.</a:t>
            </a:r>
          </a:p>
          <a:p>
            <a:pPr marL="171450" indent="-171450">
              <a:buFont typeface="Arial" panose="020B0604020202020204" pitchFamily="34" charset="0"/>
              <a:buChar char="•"/>
            </a:pPr>
            <a:r>
              <a:rPr lang="en-US" dirty="0"/>
              <a:t>Be sure to consider Summary Sections to compile data from different sections to tell a more complete story.</a:t>
            </a:r>
          </a:p>
          <a:p>
            <a:pPr marL="171450" indent="-171450">
              <a:buFont typeface="Arial" panose="020B0604020202020204" pitchFamily="34" charset="0"/>
              <a:buChar char="•"/>
            </a:pPr>
            <a:r>
              <a:rPr lang="en-US" dirty="0"/>
              <a:t>Getting into some more nuanced options we have limits to show just specific data like First or Last Created and the Required setting to help narrow down as you include more than one source of data in your report.</a:t>
            </a:r>
          </a:p>
          <a:p>
            <a:pPr marL="171450" indent="-171450">
              <a:buFont typeface="Arial" panose="020B0604020202020204" pitchFamily="34" charset="0"/>
              <a:buChar char="•"/>
            </a:pPr>
            <a:r>
              <a:rPr lang="en-US" dirty="0"/>
              <a:t>You should also be prepared to speak to when linking relationships matter in reports, such as linking Enrollments to Services so you know which Program a service was provided under.</a:t>
            </a:r>
          </a:p>
          <a:p>
            <a:pPr marL="171450" indent="-171450">
              <a:buFont typeface="Arial" panose="020B0604020202020204" pitchFamily="34" charset="0"/>
              <a:buChar char="•"/>
            </a:pPr>
            <a:r>
              <a:rPr lang="en-US" dirty="0"/>
              <a:t>Lastly, while we don’t expect you to be an expert in Results Reporting for this exam, it’s helpful to know when that tool might better help you reach your reporting goals as it’s more robust than Native reporting.</a:t>
            </a:r>
          </a:p>
        </p:txBody>
      </p:sp>
      <p:sp>
        <p:nvSpPr>
          <p:cNvPr id="4" name="Slide Number Placeholder 3"/>
          <p:cNvSpPr>
            <a:spLocks noGrp="1"/>
          </p:cNvSpPr>
          <p:nvPr>
            <p:ph type="sldNum" sz="quarter" idx="5"/>
          </p:nvPr>
        </p:nvSpPr>
        <p:spPr/>
        <p:txBody>
          <a:bodyPr/>
          <a:lstStyle/>
          <a:p>
            <a:fld id="{FD646CA7-A35C-4C75-8327-49AD30806004}" type="slidenum">
              <a:rPr lang="en-US" smtClean="0"/>
              <a:t>18</a:t>
            </a:fld>
            <a:endParaRPr lang="en-US"/>
          </a:p>
        </p:txBody>
      </p:sp>
    </p:spTree>
    <p:extLst>
      <p:ext uri="{BB962C8B-B14F-4D97-AF65-F5344CB8AC3E}">
        <p14:creationId xmlns:p14="http://schemas.microsoft.com/office/powerpoint/2010/main" val="17953528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User Management topics</a:t>
            </a:r>
          </a:p>
          <a:p>
            <a:endParaRPr lang="en-US" dirty="0"/>
          </a:p>
          <a:p>
            <a:r>
              <a:rPr lang="en-US" b="1" dirty="0"/>
              <a:t>Speaker Notes</a:t>
            </a:r>
            <a:r>
              <a:rPr lang="en-US" dirty="0"/>
              <a:t>:</a:t>
            </a:r>
          </a:p>
          <a:p>
            <a:pPr marL="171450" indent="-171450">
              <a:buFont typeface="Arial" panose="020B0604020202020204" pitchFamily="34" charset="0"/>
              <a:buChar char="•"/>
            </a:pPr>
            <a:r>
              <a:rPr lang="en-US" dirty="0"/>
              <a:t>Supporting your users as an Admin is an ongoing job, and that includes how they access the system.</a:t>
            </a:r>
          </a:p>
          <a:p>
            <a:pPr marL="171450" indent="-171450">
              <a:buFont typeface="Arial" panose="020B0604020202020204" pitchFamily="34" charset="0"/>
              <a:buChar char="•"/>
            </a:pPr>
            <a:r>
              <a:rPr lang="en-US" dirty="0"/>
              <a:t>You are in charge of organizing the structure of your Apricot with Sites and Programs.</a:t>
            </a:r>
          </a:p>
          <a:p>
            <a:pPr marL="171450" indent="-171450">
              <a:buFont typeface="Arial" panose="020B0604020202020204" pitchFamily="34" charset="0"/>
              <a:buChar char="•"/>
            </a:pPr>
            <a:r>
              <a:rPr lang="en-US" dirty="0"/>
              <a:t>You’ll need to know how to set up and maintain the Roles that allow users to access and handle data.</a:t>
            </a:r>
          </a:p>
          <a:p>
            <a:pPr marL="171450" indent="-171450">
              <a:buFont typeface="Arial" panose="020B0604020202020204" pitchFamily="34" charset="0"/>
              <a:buChar char="•"/>
            </a:pPr>
            <a:r>
              <a:rPr lang="en-US" dirty="0"/>
              <a:t>And there are additional features like Caseloads that help you get more granular with your permissions.</a:t>
            </a:r>
          </a:p>
        </p:txBody>
      </p:sp>
      <p:sp>
        <p:nvSpPr>
          <p:cNvPr id="4" name="Slide Number Placeholder 3"/>
          <p:cNvSpPr>
            <a:spLocks noGrp="1"/>
          </p:cNvSpPr>
          <p:nvPr>
            <p:ph type="sldNum" sz="quarter" idx="5"/>
          </p:nvPr>
        </p:nvSpPr>
        <p:spPr/>
        <p:txBody>
          <a:bodyPr/>
          <a:lstStyle/>
          <a:p>
            <a:fld id="{FD646CA7-A35C-4C75-8327-49AD30806004}" type="slidenum">
              <a:rPr lang="en-US" smtClean="0"/>
              <a:t>19</a:t>
            </a:fld>
            <a:endParaRPr lang="en-US"/>
          </a:p>
        </p:txBody>
      </p:sp>
    </p:spTree>
    <p:extLst>
      <p:ext uri="{BB962C8B-B14F-4D97-AF65-F5344CB8AC3E}">
        <p14:creationId xmlns:p14="http://schemas.microsoft.com/office/powerpoint/2010/main" val="2212259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r>
              <a:rPr lang="en-US" dirty="0"/>
              <a:t>:</a:t>
            </a:r>
          </a:p>
          <a:p>
            <a:pPr marL="171450" indent="-171450">
              <a:buFont typeface="Arial" panose="020B0604020202020204" pitchFamily="34" charset="0"/>
              <a:buChar char="•"/>
            </a:pPr>
            <a:r>
              <a:rPr lang="en-US" dirty="0"/>
              <a:t>Introduce yourself – Name and Role</a:t>
            </a:r>
          </a:p>
          <a:p>
            <a:pPr marL="171450" indent="-171450">
              <a:buFont typeface="Arial" panose="020B0604020202020204" pitchFamily="34" charset="0"/>
              <a:buChar char="•"/>
            </a:pPr>
            <a:r>
              <a:rPr lang="en-US" dirty="0"/>
              <a:t>Share how long you have been working at Bonterra or in a training capacity</a:t>
            </a:r>
          </a:p>
          <a:p>
            <a:pPr marL="171450" indent="-171450">
              <a:buFont typeface="Arial" panose="020B0604020202020204" pitchFamily="34" charset="0"/>
              <a:buChar char="•"/>
            </a:pPr>
            <a:r>
              <a:rPr lang="en-US" dirty="0"/>
              <a:t>Mention something you are looking forward to with this class</a:t>
            </a:r>
          </a:p>
        </p:txBody>
      </p:sp>
      <p:sp>
        <p:nvSpPr>
          <p:cNvPr id="4" name="Slide Number Placeholder 3"/>
          <p:cNvSpPr>
            <a:spLocks noGrp="1"/>
          </p:cNvSpPr>
          <p:nvPr>
            <p:ph type="sldNum" sz="quarter" idx="5"/>
          </p:nvPr>
        </p:nvSpPr>
        <p:spPr/>
        <p:txBody>
          <a:bodyPr/>
          <a:lstStyle/>
          <a:p>
            <a:fld id="{C393E958-84A1-8B43-8E5E-BBB5DC1438E5}" type="slidenum">
              <a:rPr lang="en-US" smtClean="0"/>
              <a:t>2</a:t>
            </a:fld>
            <a:endParaRPr lang="en-US"/>
          </a:p>
        </p:txBody>
      </p:sp>
    </p:spTree>
    <p:extLst>
      <p:ext uri="{BB962C8B-B14F-4D97-AF65-F5344CB8AC3E}">
        <p14:creationId xmlns:p14="http://schemas.microsoft.com/office/powerpoint/2010/main" val="2660011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User Management topics</a:t>
            </a:r>
          </a:p>
          <a:p>
            <a:endParaRPr lang="en-US" dirty="0"/>
          </a:p>
          <a:p>
            <a:r>
              <a:rPr lang="en-US" b="1" dirty="0"/>
              <a:t>Speaker Notes</a:t>
            </a:r>
            <a:r>
              <a:rPr lang="en-US" dirty="0"/>
              <a:t>:</a:t>
            </a:r>
          </a:p>
          <a:p>
            <a:pPr marL="171450" indent="-171450">
              <a:buFont typeface="Arial" panose="020B0604020202020204" pitchFamily="34" charset="0"/>
              <a:buChar char="•"/>
            </a:pPr>
            <a:r>
              <a:rPr lang="en-US" dirty="0"/>
              <a:t>It’s also important to understand what steps are required as new users come and previous users go.</a:t>
            </a:r>
          </a:p>
          <a:p>
            <a:pPr marL="171450" indent="-171450">
              <a:buFont typeface="Arial" panose="020B0604020202020204" pitchFamily="34" charset="0"/>
              <a:buChar char="•"/>
            </a:pPr>
            <a:r>
              <a:rPr lang="en-US" dirty="0"/>
              <a:t>For those of you who want some staff to have special permissions and help you out, we recommend getting familiar with the different types of permissions, included Advanced Access.</a:t>
            </a:r>
          </a:p>
        </p:txBody>
      </p:sp>
      <p:sp>
        <p:nvSpPr>
          <p:cNvPr id="4" name="Slide Number Placeholder 3"/>
          <p:cNvSpPr>
            <a:spLocks noGrp="1"/>
          </p:cNvSpPr>
          <p:nvPr>
            <p:ph type="sldNum" sz="quarter" idx="5"/>
          </p:nvPr>
        </p:nvSpPr>
        <p:spPr/>
        <p:txBody>
          <a:bodyPr/>
          <a:lstStyle/>
          <a:p>
            <a:fld id="{FD646CA7-A35C-4C75-8327-49AD30806004}" type="slidenum">
              <a:rPr lang="en-US" smtClean="0"/>
              <a:t>20</a:t>
            </a:fld>
            <a:endParaRPr lang="en-US"/>
          </a:p>
        </p:txBody>
      </p:sp>
    </p:spTree>
    <p:extLst>
      <p:ext uri="{BB962C8B-B14F-4D97-AF65-F5344CB8AC3E}">
        <p14:creationId xmlns:p14="http://schemas.microsoft.com/office/powerpoint/2010/main" val="2153843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Data Management topics</a:t>
            </a:r>
          </a:p>
          <a:p>
            <a:endParaRPr lang="en-US" dirty="0"/>
          </a:p>
          <a:p>
            <a:r>
              <a:rPr lang="en-US" b="1" dirty="0"/>
              <a:t>Speaker Notes</a:t>
            </a:r>
            <a:r>
              <a:rPr lang="en-US" dirty="0"/>
              <a:t>:</a:t>
            </a:r>
          </a:p>
          <a:p>
            <a:pPr marL="171450" indent="-171450">
              <a:buFont typeface="Arial" panose="020B0604020202020204" pitchFamily="34" charset="0"/>
              <a:buChar char="•"/>
            </a:pPr>
            <a:r>
              <a:rPr lang="en-US" dirty="0"/>
              <a:t>Shifting into Data Management, while your users may do most of the data entry, it’s important as an Admin to keep an eye on quality.</a:t>
            </a:r>
          </a:p>
          <a:p>
            <a:pPr marL="171450" indent="-171450">
              <a:buFont typeface="Arial" panose="020B0604020202020204" pitchFamily="34" charset="0"/>
              <a:buChar char="•"/>
            </a:pPr>
            <a:r>
              <a:rPr lang="en-US" dirty="0"/>
              <a:t>Understanding the Record Audit tool will give you the power to track activities across your Apricot by different users, whether your need to report on how your data is accessed or you just want to coach users.</a:t>
            </a:r>
          </a:p>
          <a:p>
            <a:pPr marL="171450" indent="-171450">
              <a:buFont typeface="Arial" panose="020B0604020202020204" pitchFamily="34" charset="0"/>
              <a:buChar char="•"/>
            </a:pPr>
            <a:r>
              <a:rPr lang="en-US" dirty="0"/>
              <a:t>The Record History will help you manage individual records and perhaps correct mistaken changes.</a:t>
            </a:r>
          </a:p>
          <a:p>
            <a:pPr marL="171450" indent="-171450">
              <a:buFont typeface="Arial" panose="020B0604020202020204" pitchFamily="34" charset="0"/>
              <a:buChar char="•"/>
            </a:pPr>
            <a:r>
              <a:rPr lang="en-US" dirty="0"/>
              <a:t>And you will likely be called upon to Archive and restore records.</a:t>
            </a:r>
          </a:p>
        </p:txBody>
      </p:sp>
      <p:sp>
        <p:nvSpPr>
          <p:cNvPr id="4" name="Slide Number Placeholder 3"/>
          <p:cNvSpPr>
            <a:spLocks noGrp="1"/>
          </p:cNvSpPr>
          <p:nvPr>
            <p:ph type="sldNum" sz="quarter" idx="5"/>
          </p:nvPr>
        </p:nvSpPr>
        <p:spPr/>
        <p:txBody>
          <a:bodyPr/>
          <a:lstStyle/>
          <a:p>
            <a:fld id="{FD646CA7-A35C-4C75-8327-49AD30806004}" type="slidenum">
              <a:rPr lang="en-US" smtClean="0"/>
              <a:t>21</a:t>
            </a:fld>
            <a:endParaRPr lang="en-US"/>
          </a:p>
        </p:txBody>
      </p:sp>
    </p:spTree>
    <p:extLst>
      <p:ext uri="{BB962C8B-B14F-4D97-AF65-F5344CB8AC3E}">
        <p14:creationId xmlns:p14="http://schemas.microsoft.com/office/powerpoint/2010/main" val="3499016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additional features Admins might set up for their staff.</a:t>
            </a:r>
          </a:p>
          <a:p>
            <a:endParaRPr lang="en-US" dirty="0"/>
          </a:p>
          <a:p>
            <a:r>
              <a:rPr lang="en-US" b="1" dirty="0"/>
              <a:t>Speaker Notes</a:t>
            </a:r>
            <a:r>
              <a:rPr lang="en-US" dirty="0"/>
              <a:t>:</a:t>
            </a:r>
          </a:p>
          <a:p>
            <a:pPr marL="171450" indent="-171450">
              <a:buFont typeface="Arial" panose="020B0604020202020204" pitchFamily="34" charset="0"/>
              <a:buChar char="•"/>
            </a:pPr>
            <a:r>
              <a:rPr lang="en-US" dirty="0"/>
              <a:t>Last, but not least, let’s talk about some of the additional features you may enable to support your organization. This list will likely grow as we have new releases, so expect to see questions about those in your recertification quizzes.</a:t>
            </a:r>
          </a:p>
          <a:p>
            <a:pPr marL="171450" indent="-171450">
              <a:buFont typeface="Arial" panose="020B0604020202020204" pitchFamily="34" charset="0"/>
              <a:buChar char="•"/>
            </a:pPr>
            <a:r>
              <a:rPr lang="en-US" dirty="0"/>
              <a:t>You might use Workflows to walk your staff through a set of forms instead of having to keep reminding them what steps to take.</a:t>
            </a:r>
          </a:p>
          <a:p>
            <a:pPr marL="171450" indent="-171450">
              <a:buFont typeface="Arial" panose="020B0604020202020204" pitchFamily="34" charset="0"/>
              <a:buChar char="•"/>
            </a:pPr>
            <a:r>
              <a:rPr lang="en-US" dirty="0"/>
              <a:t>Bulletins allow you to post announcements, key training resources and more for your users to reference.</a:t>
            </a:r>
          </a:p>
          <a:p>
            <a:pPr marL="171450" indent="-171450">
              <a:buFont typeface="Arial" panose="020B0604020202020204" pitchFamily="34" charset="0"/>
              <a:buChar char="•"/>
            </a:pPr>
            <a:r>
              <a:rPr lang="en-US" dirty="0"/>
              <a:t>Schedule is a great tool if you want to book appointments between staff and participants in Apricot.</a:t>
            </a:r>
          </a:p>
          <a:p>
            <a:pPr marL="171450" indent="-171450">
              <a:buFont typeface="Arial" panose="020B0604020202020204" pitchFamily="34" charset="0"/>
              <a:buChar char="•"/>
            </a:pPr>
            <a:r>
              <a:rPr lang="en-US" dirty="0"/>
              <a:t>Rules &amp; Alerts allow for another type of automation if there are situations that bear surfacing for more immediate action.</a:t>
            </a:r>
          </a:p>
          <a:p>
            <a:pPr marL="171450" indent="-171450">
              <a:buFont typeface="Arial" panose="020B0604020202020204" pitchFamily="34" charset="0"/>
              <a:buChar char="•"/>
            </a:pPr>
            <a:r>
              <a:rPr lang="en-US" dirty="0"/>
              <a:t>Then Intake and Connect allow for external access to Apricot to take some of the data entry burden off of your staff, but also to involve your key stakeholders in the process, from Participants to Referral partners to Volunteers and more.</a:t>
            </a:r>
          </a:p>
          <a:p>
            <a:pPr marL="171450" indent="-171450">
              <a:buFont typeface="Arial" panose="020B0604020202020204" pitchFamily="34" charset="0"/>
              <a:buChar char="•"/>
            </a:pPr>
            <a:r>
              <a:rPr lang="en-US" dirty="0"/>
              <a:t>For those of you who help Participants with physical resources, there’s also the Inventory feature.</a:t>
            </a:r>
          </a:p>
        </p:txBody>
      </p:sp>
      <p:sp>
        <p:nvSpPr>
          <p:cNvPr id="4" name="Slide Number Placeholder 3"/>
          <p:cNvSpPr>
            <a:spLocks noGrp="1"/>
          </p:cNvSpPr>
          <p:nvPr>
            <p:ph type="sldNum" sz="quarter" idx="5"/>
          </p:nvPr>
        </p:nvSpPr>
        <p:spPr/>
        <p:txBody>
          <a:bodyPr/>
          <a:lstStyle/>
          <a:p>
            <a:fld id="{FD646CA7-A35C-4C75-8327-49AD30806004}" type="slidenum">
              <a:rPr lang="en-US" smtClean="0"/>
              <a:t>22</a:t>
            </a:fld>
            <a:endParaRPr lang="en-US"/>
          </a:p>
        </p:txBody>
      </p:sp>
    </p:spTree>
    <p:extLst>
      <p:ext uri="{BB962C8B-B14F-4D97-AF65-F5344CB8AC3E}">
        <p14:creationId xmlns:p14="http://schemas.microsoft.com/office/powerpoint/2010/main" val="13754088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you can see, there are many areas that we recommend a Certified Admin know and understand to successfully manage Apric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Going through this list, I hope you feel confident about what you know or what areas you might want to refresh before taking the ex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et’s go into some recommended training so you know what resources are available to you in case you want to study up further.</a:t>
            </a:r>
          </a:p>
          <a:p>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23</a:t>
            </a:fld>
            <a:endParaRPr lang="en-US"/>
          </a:p>
        </p:txBody>
      </p:sp>
    </p:spTree>
    <p:extLst>
      <p:ext uri="{BB962C8B-B14F-4D97-AF65-F5344CB8AC3E}">
        <p14:creationId xmlns:p14="http://schemas.microsoft.com/office/powerpoint/2010/main" val="2068351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Overview of all Training we currently offer in different categories</a:t>
            </a:r>
          </a:p>
          <a:p>
            <a:endParaRPr lang="en-US" dirty="0"/>
          </a:p>
          <a:p>
            <a:r>
              <a:rPr lang="en-US" b="1" dirty="0"/>
              <a:t>Speaker Notes</a:t>
            </a:r>
            <a:r>
              <a:rPr lang="en-US" dirty="0"/>
              <a:t>:</a:t>
            </a:r>
          </a:p>
          <a:p>
            <a:pPr marL="171450" indent="-171450">
              <a:buFont typeface="Arial" panose="020B0604020202020204" pitchFamily="34" charset="0"/>
              <a:buChar char="•"/>
            </a:pPr>
            <a:r>
              <a:rPr lang="en-US" dirty="0"/>
              <a:t>For those of you just starting your training journey who want to know beforehand how to prepare for the exam, here is a big picture view of the training available to you. There are two main categories:</a:t>
            </a:r>
          </a:p>
          <a:p>
            <a:pPr marL="171450" indent="-171450">
              <a:buFont typeface="Arial" panose="020B0604020202020204" pitchFamily="34" charset="0"/>
              <a:buChar char="•"/>
            </a:pPr>
            <a:r>
              <a:rPr lang="en-US" dirty="0"/>
              <a:t>We have Paid Training that’s usually smaller groups with plenty of time for hands on and Q&amp;A. This is ideal for those of you that prefer more time with a Trainer.</a:t>
            </a:r>
          </a:p>
          <a:p>
            <a:pPr marL="171450" indent="-171450">
              <a:buFont typeface="Arial" panose="020B0604020202020204" pitchFamily="34" charset="0"/>
              <a:buChar char="•"/>
            </a:pPr>
            <a:r>
              <a:rPr lang="en-US" dirty="0"/>
              <a:t>Then we have free resources available to the larger group. The same information is covered, but it’s often faster paced without hands on for those of you that prefer to do it yourself.</a:t>
            </a:r>
          </a:p>
          <a:p>
            <a:pPr marL="171450" indent="-171450">
              <a:buFont typeface="Arial" panose="020B0604020202020204" pitchFamily="34" charset="0"/>
              <a:buChar char="•"/>
            </a:pPr>
            <a:r>
              <a:rPr lang="en-US" dirty="0"/>
              <a:t>You are welcome to mix and match based on where you feel you need to spend time.</a:t>
            </a:r>
          </a:p>
          <a:p>
            <a:pPr marL="171450" indent="-171450">
              <a:buFont typeface="Arial" panose="020B0604020202020204" pitchFamily="34" charset="0"/>
              <a:buChar char="•"/>
            </a:pPr>
            <a:endParaRPr lang="en-US" dirty="0"/>
          </a:p>
          <a:p>
            <a:pPr marL="228600" indent="-228600">
              <a:buFont typeface="Arial" panose="020B0604020202020204" pitchFamily="34" charset="0"/>
              <a:buAutoNum type="arabicPeriod"/>
            </a:pPr>
            <a:r>
              <a:rPr lang="en-US" dirty="0"/>
              <a:t>With that said, we recommend that everyone start with the foundations to understand how Apricot works. This includes either our paid multiday course and labs or free webinars on starter topics.</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Then when you are ready for more advanced topics, we have a new paid multi-day masterclass or free advanced webinars.</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Lastly, we offer supplemental training that’s more nuanced, whether you want paid private time with a trainer to talk about your unique use case or you join our free targeted and new release webinars hosted monthly.</a:t>
            </a:r>
          </a:p>
        </p:txBody>
      </p:sp>
      <p:sp>
        <p:nvSpPr>
          <p:cNvPr id="4" name="Slide Number Placeholder 3"/>
          <p:cNvSpPr>
            <a:spLocks noGrp="1"/>
          </p:cNvSpPr>
          <p:nvPr>
            <p:ph type="sldNum" sz="quarter" idx="5"/>
          </p:nvPr>
        </p:nvSpPr>
        <p:spPr/>
        <p:txBody>
          <a:bodyPr/>
          <a:lstStyle/>
          <a:p>
            <a:fld id="{FD646CA7-A35C-4C75-8327-49AD30806004}" type="slidenum">
              <a:rPr lang="en-US" smtClean="0"/>
              <a:t>24</a:t>
            </a:fld>
            <a:endParaRPr lang="en-US"/>
          </a:p>
        </p:txBody>
      </p:sp>
    </p:spTree>
    <p:extLst>
      <p:ext uri="{BB962C8B-B14F-4D97-AF65-F5344CB8AC3E}">
        <p14:creationId xmlns:p14="http://schemas.microsoft.com/office/powerpoint/2010/main" val="41867015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webinars recommended to refresh on specific topics</a:t>
            </a:r>
          </a:p>
          <a:p>
            <a:endParaRPr lang="en-US" dirty="0"/>
          </a:p>
          <a:p>
            <a:r>
              <a:rPr lang="en-US" b="1" dirty="0"/>
              <a:t>Speaker Notes</a:t>
            </a:r>
            <a:r>
              <a:rPr lang="en-US" dirty="0"/>
              <a:t>:</a:t>
            </a:r>
          </a:p>
          <a:p>
            <a:pPr marL="171450" indent="-171450">
              <a:buFont typeface="Arial" panose="020B0604020202020204" pitchFamily="34" charset="0"/>
              <a:buChar char="•"/>
            </a:pPr>
            <a:r>
              <a:rPr lang="en-US" dirty="0"/>
              <a:t>Perhaps you’ve gone through the various Foundations and Advanced trainings, and now you are ready to take the exam. </a:t>
            </a:r>
          </a:p>
          <a:p>
            <a:pPr marL="171450" indent="-171450">
              <a:buFont typeface="Arial" panose="020B0604020202020204" pitchFamily="34" charset="0"/>
              <a:buChar char="•"/>
            </a:pPr>
            <a:r>
              <a:rPr lang="en-US" dirty="0"/>
              <a:t>If anything we covered in today’s course stood out as something you need to revisit, here is a collection of webinars by topic to help you brush up.</a:t>
            </a:r>
          </a:p>
          <a:p>
            <a:pPr marL="171450" indent="-171450">
              <a:buFont typeface="Arial" panose="020B0604020202020204" pitchFamily="34" charset="0"/>
              <a:buChar char="•"/>
            </a:pPr>
            <a:r>
              <a:rPr lang="en-US" dirty="0"/>
              <a:t>These are all available on our website with live sessions and recordings to meet your needs.</a:t>
            </a:r>
          </a:p>
          <a:p>
            <a:pPr marL="171450" indent="-171450">
              <a:buFont typeface="Arial" panose="020B0604020202020204" pitchFamily="34" charset="0"/>
              <a:buChar char="•"/>
            </a:pPr>
            <a:r>
              <a:rPr lang="en-US" dirty="0"/>
              <a:t>Please let me know any specific recommendations you might be seek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LINK to share</a:t>
            </a:r>
            <a:r>
              <a:rPr lang="en-US" dirty="0"/>
              <a:t>: https://www.bonterratech.com/training#apricot</a:t>
            </a:r>
          </a:p>
        </p:txBody>
      </p:sp>
      <p:sp>
        <p:nvSpPr>
          <p:cNvPr id="4" name="Slide Number Placeholder 3"/>
          <p:cNvSpPr>
            <a:spLocks noGrp="1"/>
          </p:cNvSpPr>
          <p:nvPr>
            <p:ph type="sldNum" sz="quarter" idx="5"/>
          </p:nvPr>
        </p:nvSpPr>
        <p:spPr/>
        <p:txBody>
          <a:bodyPr/>
          <a:lstStyle/>
          <a:p>
            <a:fld id="{FD646CA7-A35C-4C75-8327-49AD30806004}" type="slidenum">
              <a:rPr lang="en-US" smtClean="0"/>
              <a:t>25</a:t>
            </a:fld>
            <a:endParaRPr lang="en-US"/>
          </a:p>
        </p:txBody>
      </p:sp>
    </p:spTree>
    <p:extLst>
      <p:ext uri="{BB962C8B-B14F-4D97-AF65-F5344CB8AC3E}">
        <p14:creationId xmlns:p14="http://schemas.microsoft.com/office/powerpoint/2010/main" val="23741722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Review of webinars recommended to refresh on specific topics</a:t>
            </a:r>
          </a:p>
          <a:p>
            <a:endParaRPr lang="en-US" dirty="0"/>
          </a:p>
          <a:p>
            <a:r>
              <a:rPr lang="en-US" b="1" dirty="0"/>
              <a:t>Speaker Notes</a:t>
            </a:r>
            <a:r>
              <a:rPr lang="en-US" dirty="0"/>
              <a:t>:</a:t>
            </a:r>
          </a:p>
          <a:p>
            <a:pPr marL="171450" indent="-171450">
              <a:buFont typeface="Arial" panose="020B0604020202020204" pitchFamily="34" charset="0"/>
              <a:buChar char="•"/>
            </a:pPr>
            <a:r>
              <a:rPr lang="en-US" dirty="0"/>
              <a:t>Additional webinars by topic area</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b="1" dirty="0"/>
              <a:t>LINK to share</a:t>
            </a:r>
            <a:r>
              <a:rPr lang="en-US" dirty="0"/>
              <a:t>: https://www.bonterratech.com/training#apricot</a:t>
            </a:r>
          </a:p>
        </p:txBody>
      </p:sp>
      <p:sp>
        <p:nvSpPr>
          <p:cNvPr id="4" name="Slide Number Placeholder 3"/>
          <p:cNvSpPr>
            <a:spLocks noGrp="1"/>
          </p:cNvSpPr>
          <p:nvPr>
            <p:ph type="sldNum" sz="quarter" idx="5"/>
          </p:nvPr>
        </p:nvSpPr>
        <p:spPr/>
        <p:txBody>
          <a:bodyPr/>
          <a:lstStyle/>
          <a:p>
            <a:fld id="{FD646CA7-A35C-4C75-8327-49AD30806004}" type="slidenum">
              <a:rPr lang="en-US" smtClean="0"/>
              <a:t>26</a:t>
            </a:fld>
            <a:endParaRPr lang="en-US"/>
          </a:p>
        </p:txBody>
      </p:sp>
    </p:spTree>
    <p:extLst>
      <p:ext uri="{BB962C8B-B14F-4D97-AF65-F5344CB8AC3E}">
        <p14:creationId xmlns:p14="http://schemas.microsoft.com/office/powerpoint/2010/main" val="10740434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A83FD9-9D0A-2219-D8E1-1694F683D1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B125FF-C58D-24A5-658E-606F20D362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D71318-1A2E-3267-5472-778B60F9196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indent="-171450">
              <a:buFont typeface="Arial" panose="020B0604020202020204" pitchFamily="34" charset="0"/>
              <a:buChar char="•"/>
            </a:pPr>
            <a:r>
              <a:rPr lang="en-US" dirty="0"/>
              <a:t>We’ll dive into questions shortly, but I wanted to offer you the chance to test your knowledge with a few sample questions similar to what you will see on the exam. </a:t>
            </a:r>
          </a:p>
          <a:p>
            <a:pPr marL="171450" indent="-171450">
              <a:buFont typeface="Arial" panose="020B0604020202020204" pitchFamily="34" charset="0"/>
              <a:buChar char="•"/>
            </a:pPr>
            <a:r>
              <a:rPr lang="en-US" dirty="0"/>
              <a:t>Please complete the Zoom quiz and we can review answers for anything unclear.</a:t>
            </a:r>
          </a:p>
        </p:txBody>
      </p:sp>
      <p:sp>
        <p:nvSpPr>
          <p:cNvPr id="4" name="Slide Number Placeholder 3">
            <a:extLst>
              <a:ext uri="{FF2B5EF4-FFF2-40B4-BE49-F238E27FC236}">
                <a16:creationId xmlns:a16="http://schemas.microsoft.com/office/drawing/2014/main" id="{045A6DB9-AEEF-13AF-502F-8C7207D188D7}"/>
              </a:ext>
            </a:extLst>
          </p:cNvPr>
          <p:cNvSpPr>
            <a:spLocks noGrp="1"/>
          </p:cNvSpPr>
          <p:nvPr>
            <p:ph type="sldNum" sz="quarter" idx="5"/>
          </p:nvPr>
        </p:nvSpPr>
        <p:spPr/>
        <p:txBody>
          <a:bodyPr/>
          <a:lstStyle/>
          <a:p>
            <a:fld id="{FD646CA7-A35C-4C75-8327-49AD30806004}" type="slidenum">
              <a:rPr lang="en-US" smtClean="0"/>
              <a:t>27</a:t>
            </a:fld>
            <a:endParaRPr lang="en-US"/>
          </a:p>
        </p:txBody>
      </p:sp>
    </p:spTree>
    <p:extLst>
      <p:ext uri="{BB962C8B-B14F-4D97-AF65-F5344CB8AC3E}">
        <p14:creationId xmlns:p14="http://schemas.microsoft.com/office/powerpoint/2010/main" val="698473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BAE80D-03D1-AC0C-F632-19CAD4B1C3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BCF415-FEA1-3E4A-0109-840E558A4C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12BFD8-F352-982B-2C95-D187756D76B7}"/>
              </a:ext>
            </a:extLst>
          </p:cNvPr>
          <p:cNvSpPr>
            <a:spLocks noGrp="1"/>
          </p:cNvSpPr>
          <p:nvPr>
            <p:ph type="body" idx="1"/>
          </p:nvPr>
        </p:nvSpPr>
        <p:spPr/>
        <p:txBody>
          <a:bodyPr/>
          <a:lstStyle/>
          <a:p>
            <a:r>
              <a:rPr lang="en-US" dirty="0"/>
              <a:t>*Slide hidden in case you use quiz feature in Zoom to ask questions. Next slide has answers.</a:t>
            </a:r>
          </a:p>
        </p:txBody>
      </p:sp>
      <p:sp>
        <p:nvSpPr>
          <p:cNvPr id="4" name="Slide Number Placeholder 3">
            <a:extLst>
              <a:ext uri="{FF2B5EF4-FFF2-40B4-BE49-F238E27FC236}">
                <a16:creationId xmlns:a16="http://schemas.microsoft.com/office/drawing/2014/main" id="{B0243DFE-61AB-7432-6C0D-0786FDB0013E}"/>
              </a:ext>
            </a:extLst>
          </p:cNvPr>
          <p:cNvSpPr>
            <a:spLocks noGrp="1"/>
          </p:cNvSpPr>
          <p:nvPr>
            <p:ph type="sldNum" sz="quarter" idx="5"/>
          </p:nvPr>
        </p:nvSpPr>
        <p:spPr/>
        <p:txBody>
          <a:bodyPr/>
          <a:lstStyle/>
          <a:p>
            <a:fld id="{FD646CA7-A35C-4C75-8327-49AD30806004}" type="slidenum">
              <a:rPr lang="en-US" smtClean="0"/>
              <a:t>28</a:t>
            </a:fld>
            <a:endParaRPr lang="en-US"/>
          </a:p>
        </p:txBody>
      </p:sp>
    </p:spTree>
    <p:extLst>
      <p:ext uri="{BB962C8B-B14F-4D97-AF65-F5344CB8AC3E}">
        <p14:creationId xmlns:p14="http://schemas.microsoft.com/office/powerpoint/2010/main" val="25906168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B848BC-5A03-D599-5CD6-EAC4E4C2AD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CFEBF3-2B4F-08A8-B740-501BBFC0A74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DB57CD-9015-2CEB-2721-B8B8897AC7BE}"/>
              </a:ext>
            </a:extLst>
          </p:cNvPr>
          <p:cNvSpPr>
            <a:spLocks noGrp="1"/>
          </p:cNvSpPr>
          <p:nvPr>
            <p:ph type="body" idx="1"/>
          </p:nvPr>
        </p:nvSpPr>
        <p:spPr/>
        <p:txBody>
          <a:bodyPr/>
          <a:lstStyle/>
          <a:p>
            <a:r>
              <a:rPr lang="en-US" b="1" dirty="0"/>
              <a:t>Lesson</a:t>
            </a:r>
            <a:r>
              <a:rPr lang="en-US" dirty="0"/>
              <a:t>: Sampling of questions similar to Exam for practice.</a:t>
            </a:r>
          </a:p>
          <a:p>
            <a:endParaRPr lang="en-US" dirty="0"/>
          </a:p>
          <a:p>
            <a:r>
              <a:rPr lang="en-US" b="1" dirty="0"/>
              <a:t>Speaker Notes:</a:t>
            </a:r>
            <a:endParaRPr lang="en-US" b="0" dirty="0"/>
          </a:p>
          <a:p>
            <a:pPr marL="171450" indent="-171450">
              <a:buFont typeface="Arial" panose="020B0604020202020204" pitchFamily="34" charset="0"/>
              <a:buChar char="•"/>
            </a:pPr>
            <a:r>
              <a:rPr lang="en-US" b="0" dirty="0"/>
              <a:t>Now that you all have tried your hand at some sample questions to get familiar with what to expect on the Apricot Certification Exam, let’s check your answers.</a:t>
            </a:r>
          </a:p>
          <a:p>
            <a:pPr marL="0" indent="0">
              <a:buFont typeface="Arial" panose="020B0604020202020204" pitchFamily="34" charset="0"/>
              <a:buNone/>
            </a:pPr>
            <a:r>
              <a:rPr lang="en-US" b="0" i="1" dirty="0"/>
              <a:t>*Read each question and then click to reveal the correct answer. The below notes are context on our reasoning for correct </a:t>
            </a:r>
            <a:r>
              <a:rPr lang="en-US" b="0" i="1"/>
              <a:t>answers if needed.</a:t>
            </a:r>
            <a:endParaRPr lang="en-US" dirty="0"/>
          </a:p>
          <a:p>
            <a:pPr marL="0" indent="0">
              <a:buFont typeface="Arial" panose="020B0604020202020204" pitchFamily="34" charset="0"/>
              <a:buNone/>
            </a:pPr>
            <a:endParaRPr lang="en-US"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We recommend focusing on data like demographics &amp; contact info that doesn't change as a result of your services – Tier 1 should be filled out once and kept up to date. Tier 2s are the place for tracking change over time, history, progress, counts, etc.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Volunteer Timesheet – The other forms would be associated with Participants and Connect only allows you to access and enter data about yourself, so for Volunteers that would be their own data about their time spent in a given activit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True – Lookup lists are edited in one place, but the changes apply anywhere they are used. This won’t change already selected answers (unless you edit existing records), but it does impact what you can choose for new record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Services Provided to the Household – This is what should live under a Household Tier 1. The other forms listed here would most likely be under a Participant Tier 1 since they refer to specific individuals, not the full househol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False – Inventory can also be used to track items distributed to anyone without names as long as it’s items that are not to be returned since you don’t necessarily need to know who has those item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200" dirty="0"/>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dirty="0"/>
              <a:t>Created Date – Comparison Reporting uses Limits and Aliases which rely on the Created Date for the records. If you need a different date for the comparison you would need to create a different type of report or consider Results Reporting.</a:t>
            </a:r>
          </a:p>
        </p:txBody>
      </p:sp>
      <p:sp>
        <p:nvSpPr>
          <p:cNvPr id="4" name="Slide Number Placeholder 3">
            <a:extLst>
              <a:ext uri="{FF2B5EF4-FFF2-40B4-BE49-F238E27FC236}">
                <a16:creationId xmlns:a16="http://schemas.microsoft.com/office/drawing/2014/main" id="{8CA76FCD-F3F9-32E0-CFAC-53C952A98D92}"/>
              </a:ext>
            </a:extLst>
          </p:cNvPr>
          <p:cNvSpPr>
            <a:spLocks noGrp="1"/>
          </p:cNvSpPr>
          <p:nvPr>
            <p:ph type="sldNum" sz="quarter" idx="5"/>
          </p:nvPr>
        </p:nvSpPr>
        <p:spPr/>
        <p:txBody>
          <a:bodyPr/>
          <a:lstStyle/>
          <a:p>
            <a:fld id="{FD646CA7-A35C-4C75-8327-49AD30806004}" type="slidenum">
              <a:rPr lang="en-US" smtClean="0"/>
              <a:t>29</a:t>
            </a:fld>
            <a:endParaRPr lang="en-US"/>
          </a:p>
        </p:txBody>
      </p:sp>
    </p:spTree>
    <p:extLst>
      <p:ext uri="{BB962C8B-B14F-4D97-AF65-F5344CB8AC3E}">
        <p14:creationId xmlns:p14="http://schemas.microsoft.com/office/powerpoint/2010/main" val="38257853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r>
              <a:rPr lang="en-US" dirty="0"/>
              <a:t>:</a:t>
            </a:r>
          </a:p>
          <a:p>
            <a:pPr marL="171450" indent="-171450">
              <a:buFont typeface="Arial" panose="020B0604020202020204" pitchFamily="34" charset="0"/>
              <a:buChar char="•"/>
            </a:pPr>
            <a:r>
              <a:rPr lang="en-US" dirty="0"/>
              <a:t>Here is a look at our agenda</a:t>
            </a:r>
          </a:p>
          <a:p>
            <a:pPr marL="171450" indent="-171450">
              <a:buFont typeface="Arial" panose="020B0604020202020204" pitchFamily="34" charset="0"/>
              <a:buChar char="•"/>
            </a:pPr>
            <a:r>
              <a:rPr lang="en-US" dirty="0"/>
              <a:t>We will start with an overview of the exam and some expectations so you know more about what you’ve signed up for.</a:t>
            </a:r>
          </a:p>
          <a:p>
            <a:pPr marL="171450" indent="-171450">
              <a:buFont typeface="Arial" panose="020B0604020202020204" pitchFamily="34" charset="0"/>
              <a:buChar char="•"/>
            </a:pPr>
            <a:r>
              <a:rPr lang="en-US" dirty="0"/>
              <a:t>We’ll spend a bit of time going through the key areas you need to understand as an Apricot Admin to pass the exam.</a:t>
            </a:r>
          </a:p>
          <a:p>
            <a:pPr marL="171450" indent="-171450">
              <a:buFont typeface="Arial" panose="020B0604020202020204" pitchFamily="34" charset="0"/>
              <a:buChar char="•"/>
            </a:pPr>
            <a:r>
              <a:rPr lang="en-US" dirty="0"/>
              <a:t>We will highlight some training recommendations so you can confirm if you are ready or if you want to complete any refreshers.</a:t>
            </a:r>
          </a:p>
          <a:p>
            <a:pPr marL="171450" indent="-171450">
              <a:buFont typeface="Arial" panose="020B0604020202020204" pitchFamily="34" charset="0"/>
              <a:buChar char="•"/>
            </a:pPr>
            <a:r>
              <a:rPr lang="en-US" dirty="0"/>
              <a:t>Then lastly we will open it up to Q&amp;A so you have time to tie up any loose ends before you test your knowledge. </a:t>
            </a:r>
          </a:p>
        </p:txBody>
      </p:sp>
      <p:sp>
        <p:nvSpPr>
          <p:cNvPr id="4" name="Slide Number Placeholder 3"/>
          <p:cNvSpPr>
            <a:spLocks noGrp="1"/>
          </p:cNvSpPr>
          <p:nvPr>
            <p:ph type="sldNum" sz="quarter" idx="5"/>
          </p:nvPr>
        </p:nvSpPr>
        <p:spPr/>
        <p:txBody>
          <a:bodyPr/>
          <a:lstStyle/>
          <a:p>
            <a:fld id="{FD646CA7-A35C-4C75-8327-49AD30806004}" type="slidenum">
              <a:rPr lang="en-US" smtClean="0"/>
              <a:t>3</a:t>
            </a:fld>
            <a:endParaRPr lang="en-US"/>
          </a:p>
        </p:txBody>
      </p:sp>
    </p:spTree>
    <p:extLst>
      <p:ext uri="{BB962C8B-B14F-4D97-AF65-F5344CB8AC3E}">
        <p14:creationId xmlns:p14="http://schemas.microsoft.com/office/powerpoint/2010/main" val="38704253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indent="-171450">
              <a:buFont typeface="Arial" panose="020B0604020202020204" pitchFamily="34" charset="0"/>
              <a:buChar char="•"/>
            </a:pPr>
            <a:r>
              <a:rPr lang="en-US" dirty="0"/>
              <a:t>Alright, now it’s time for questions. </a:t>
            </a:r>
          </a:p>
          <a:p>
            <a:pPr marL="171450" indent="-171450">
              <a:buFont typeface="Arial" panose="020B0604020202020204" pitchFamily="34" charset="0"/>
              <a:buChar char="•"/>
            </a:pPr>
            <a:r>
              <a:rPr lang="en-US" dirty="0"/>
              <a:t>Feel free to ask anything on your mind for the exam, whether it’s about what to expect or Apricot functionality. </a:t>
            </a:r>
          </a:p>
          <a:p>
            <a:pPr marL="171450" indent="-171450">
              <a:buFont typeface="Arial" panose="020B0604020202020204" pitchFamily="34" charset="0"/>
              <a:buChar char="•"/>
            </a:pPr>
            <a:r>
              <a:rPr lang="en-US" dirty="0"/>
              <a:t>We will do our best to answer here or recommend resources for further research.</a:t>
            </a:r>
          </a:p>
        </p:txBody>
      </p:sp>
      <p:sp>
        <p:nvSpPr>
          <p:cNvPr id="4" name="Slide Number Placeholder 3"/>
          <p:cNvSpPr>
            <a:spLocks noGrp="1"/>
          </p:cNvSpPr>
          <p:nvPr>
            <p:ph type="sldNum" sz="quarter" idx="5"/>
          </p:nvPr>
        </p:nvSpPr>
        <p:spPr/>
        <p:txBody>
          <a:bodyPr/>
          <a:lstStyle/>
          <a:p>
            <a:fld id="{FD646CA7-A35C-4C75-8327-49AD30806004}" type="slidenum">
              <a:rPr lang="en-US" smtClean="0"/>
              <a:t>30</a:t>
            </a:fld>
            <a:endParaRPr lang="en-US"/>
          </a:p>
        </p:txBody>
      </p:sp>
    </p:spTree>
    <p:extLst>
      <p:ext uri="{BB962C8B-B14F-4D97-AF65-F5344CB8AC3E}">
        <p14:creationId xmlns:p14="http://schemas.microsoft.com/office/powerpoint/2010/main" val="42331121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r>
              <a:rPr lang="en-US" dirty="0"/>
              <a:t>: Open up to any questions folks have about Apricot. Do you best to respond of point to resources. It may help to have list of webinars open to suggest for more detailed review </a:t>
            </a:r>
            <a:r>
              <a:rPr lang="en-US"/>
              <a:t>of topic areas asked about.</a:t>
            </a:r>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31</a:t>
            </a:fld>
            <a:endParaRPr lang="en-US"/>
          </a:p>
        </p:txBody>
      </p:sp>
    </p:spTree>
    <p:extLst>
      <p:ext uri="{BB962C8B-B14F-4D97-AF65-F5344CB8AC3E}">
        <p14:creationId xmlns:p14="http://schemas.microsoft.com/office/powerpoint/2010/main" val="6380750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indent="-171450">
              <a:buFont typeface="Arial" panose="020B0604020202020204" pitchFamily="34" charset="0"/>
              <a:buChar char="•"/>
            </a:pPr>
            <a:r>
              <a:rPr lang="en-US" dirty="0"/>
              <a:t>Thank you all for joining.</a:t>
            </a:r>
          </a:p>
          <a:p>
            <a:pPr marL="171450" indent="-171450">
              <a:buFont typeface="Arial" panose="020B0604020202020204" pitchFamily="34" charset="0"/>
              <a:buChar char="•"/>
            </a:pPr>
            <a:r>
              <a:rPr lang="en-US" dirty="0"/>
              <a:t>We hope you feel more confident about what to expect with our Apricot Certification Exam. </a:t>
            </a:r>
          </a:p>
        </p:txBody>
      </p:sp>
      <p:sp>
        <p:nvSpPr>
          <p:cNvPr id="4" name="Slide Number Placeholder 3"/>
          <p:cNvSpPr>
            <a:spLocks noGrp="1"/>
          </p:cNvSpPr>
          <p:nvPr>
            <p:ph type="sldNum" sz="quarter" idx="5"/>
          </p:nvPr>
        </p:nvSpPr>
        <p:spPr/>
        <p:txBody>
          <a:bodyPr/>
          <a:lstStyle/>
          <a:p>
            <a:fld id="{FD646CA7-A35C-4C75-8327-49AD30806004}" type="slidenum">
              <a:rPr lang="en-US" smtClean="0"/>
              <a:t>32</a:t>
            </a:fld>
            <a:endParaRPr lang="en-US"/>
          </a:p>
        </p:txBody>
      </p:sp>
    </p:spTree>
    <p:extLst>
      <p:ext uri="{BB962C8B-B14F-4D97-AF65-F5344CB8AC3E}">
        <p14:creationId xmlns:p14="http://schemas.microsoft.com/office/powerpoint/2010/main" val="3583098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indent="-171450">
              <a:buFont typeface="Arial" panose="020B0604020202020204" pitchFamily="34" charset="0"/>
              <a:buChar char="•"/>
            </a:pPr>
            <a:r>
              <a:rPr lang="en-US" dirty="0">
                <a:cs typeface="Calibri" panose="020F0502020204030204"/>
              </a:rPr>
              <a:t>As you go forth and continue your preparations, please keep these resources in mind.</a:t>
            </a:r>
          </a:p>
          <a:p>
            <a:pPr marL="171450" indent="-171450">
              <a:buFont typeface="Arial" panose="020B0604020202020204" pitchFamily="34" charset="0"/>
              <a:buChar char="•"/>
            </a:pPr>
            <a:r>
              <a:rPr lang="en-US" dirty="0">
                <a:cs typeface="Calibri" panose="020F0502020204030204"/>
              </a:rPr>
              <a:t>I will share links in the chat for you to bookmark.</a:t>
            </a:r>
          </a:p>
          <a:p>
            <a:pPr marL="171450" indent="-171450">
              <a:buFont typeface="Arial" panose="020B0604020202020204" pitchFamily="34" charset="0"/>
              <a:buChar char="•"/>
            </a:pPr>
            <a:endParaRPr lang="en-US" dirty="0">
              <a:cs typeface="Calibri" panose="020F0502020204030204"/>
            </a:endParaRPr>
          </a:p>
          <a:p>
            <a:pPr marL="0" indent="0">
              <a:buFont typeface="Arial" panose="020B0604020202020204" pitchFamily="34" charset="0"/>
              <a:buNone/>
            </a:pPr>
            <a:r>
              <a:rPr lang="en-US" b="1" dirty="0">
                <a:cs typeface="Calibri" panose="020F0502020204030204"/>
              </a:rPr>
              <a:t>LINKs to share</a:t>
            </a:r>
            <a:r>
              <a:rPr lang="en-US" dirty="0">
                <a:cs typeface="Calibri" panose="020F0502020204030204"/>
              </a:rPr>
              <a:t>:</a:t>
            </a:r>
          </a:p>
          <a:p>
            <a:pPr algn="l" rtl="0" fontAlgn="base">
              <a:lnSpc>
                <a:spcPts val="1552"/>
              </a:lnSpc>
            </a:pPr>
            <a:r>
              <a:rPr lang="en-US" sz="1800" b="0" i="0" dirty="0">
                <a:solidFill>
                  <a:srgbClr val="000000"/>
                </a:solidFill>
                <a:effectLst/>
                <a:latin typeface="Calibri" panose="020F0502020204030204" pitchFamily="34" charset="0"/>
              </a:rPr>
              <a:t>Apricot Help Center: </a:t>
            </a:r>
            <a:r>
              <a:rPr lang="en-US" sz="1800" b="0" i="0" dirty="0">
                <a:solidFill>
                  <a:srgbClr val="000000"/>
                </a:solidFill>
                <a:effectLst/>
                <a:latin typeface="Calibri" panose="020F0502020204030204" pitchFamily="34" charset="0"/>
                <a:hlinkClick r:id="rId3"/>
              </a:rPr>
              <a:t>https://apricot-articles.socialsolutions.com/en/</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Apricot Free Webinars: </a:t>
            </a:r>
            <a:r>
              <a:rPr lang="en-US" sz="1800" b="0" i="0" dirty="0">
                <a:solidFill>
                  <a:srgbClr val="000000"/>
                </a:solidFill>
                <a:effectLst/>
                <a:latin typeface="Calibri" panose="020F0502020204030204" pitchFamily="34" charset="0"/>
                <a:hlinkClick r:id="rId4"/>
              </a:rPr>
              <a:t>https://www.bonterratech.com/training#apricot</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How to Contact Bonterra: </a:t>
            </a:r>
            <a:r>
              <a:rPr lang="en-US" sz="1800" b="0" i="0" dirty="0">
                <a:solidFill>
                  <a:srgbClr val="000000"/>
                </a:solidFill>
                <a:effectLst/>
                <a:latin typeface="Calibri" panose="020F0502020204030204" pitchFamily="34" charset="0"/>
                <a:hlinkClick r:id="rId5"/>
              </a:rPr>
              <a:t>https://www.bonterratech.com/contact-us</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Email Newsletter Signup: </a:t>
            </a:r>
            <a:r>
              <a:rPr lang="en-US" sz="1800" b="0" i="0" dirty="0">
                <a:solidFill>
                  <a:srgbClr val="000000"/>
                </a:solidFill>
                <a:effectLst/>
                <a:latin typeface="Calibri" panose="020F0502020204030204" pitchFamily="34" charset="0"/>
                <a:hlinkClick r:id="rId6"/>
              </a:rPr>
              <a:t>https://learn.bonterratech.com/customer-newsletter-subscriptions.html</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Purchase Seats in Paid Trainings: </a:t>
            </a:r>
            <a:r>
              <a:rPr lang="en-US" sz="1800" b="0" i="0" dirty="0">
                <a:solidFill>
                  <a:srgbClr val="000000"/>
                </a:solidFill>
                <a:effectLst/>
                <a:latin typeface="Calibri" panose="020F0502020204030204" pitchFamily="34" charset="0"/>
                <a:hlinkClick r:id="rId7"/>
              </a:rPr>
              <a:t>https://bonterraacademy.bonterratech.com/self-signup/index</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Bonterra Academy (Training Subscription Access to Paid Classes): </a:t>
            </a:r>
            <a:r>
              <a:rPr lang="en-US" sz="1800" b="0" i="0" dirty="0">
                <a:solidFill>
                  <a:srgbClr val="000000"/>
                </a:solidFill>
                <a:effectLst/>
                <a:latin typeface="Calibri" panose="020F0502020204030204" pitchFamily="34" charset="0"/>
                <a:hlinkClick r:id="rId8"/>
              </a:rPr>
              <a:t>https://bonterraacademy.bonterratech.com/</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lnSpc>
                <a:spcPts val="1552"/>
              </a:lnSpc>
            </a:pPr>
            <a:r>
              <a:rPr lang="en-US" sz="1800" b="0" i="0" dirty="0">
                <a:solidFill>
                  <a:srgbClr val="000000"/>
                </a:solidFill>
                <a:effectLst/>
                <a:latin typeface="Calibri" panose="020F0502020204030204" pitchFamily="34" charset="0"/>
              </a:rPr>
              <a:t>Learn More about Private Training: </a:t>
            </a:r>
            <a:r>
              <a:rPr lang="en-US" sz="1800" b="0" i="0" dirty="0">
                <a:solidFill>
                  <a:srgbClr val="000000"/>
                </a:solidFill>
                <a:effectLst/>
                <a:latin typeface="Calibri" panose="020F0502020204030204" pitchFamily="34" charset="0"/>
                <a:hlinkClick r:id="rId9"/>
              </a:rPr>
              <a:t>https://apricot-articles.socialsolutions.com/en/articles/8952258-apricot-private-training-menu</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marL="0" indent="0">
              <a:buFont typeface="Arial" panose="020B0604020202020204" pitchFamily="34" charset="0"/>
              <a:buNone/>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C393E958-84A1-8B43-8E5E-BBB5DC1438E5}" type="slidenum">
              <a:rPr lang="en-US" smtClean="0"/>
              <a:t>33</a:t>
            </a:fld>
            <a:endParaRPr lang="en-US"/>
          </a:p>
        </p:txBody>
      </p:sp>
    </p:spTree>
    <p:extLst>
      <p:ext uri="{BB962C8B-B14F-4D97-AF65-F5344CB8AC3E}">
        <p14:creationId xmlns:p14="http://schemas.microsoft.com/office/powerpoint/2010/main" val="16574869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indent="-171450">
              <a:buFont typeface="Arial" panose="020B0604020202020204" pitchFamily="34" charset="0"/>
              <a:buChar char="•"/>
            </a:pPr>
            <a:r>
              <a:rPr lang="en-US" dirty="0"/>
              <a:t>If there is anything we couldn’t answer for you today or you think of a question after this session, please feel free to contact our Support team via chat or email.</a:t>
            </a:r>
          </a:p>
        </p:txBody>
      </p:sp>
      <p:sp>
        <p:nvSpPr>
          <p:cNvPr id="4" name="Slide Number Placeholder 3"/>
          <p:cNvSpPr>
            <a:spLocks noGrp="1"/>
          </p:cNvSpPr>
          <p:nvPr>
            <p:ph type="sldNum" sz="quarter" idx="5"/>
          </p:nvPr>
        </p:nvSpPr>
        <p:spPr/>
        <p:txBody>
          <a:bodyPr/>
          <a:lstStyle/>
          <a:p>
            <a:fld id="{FD646CA7-A35C-4C75-8327-49AD30806004}" type="slidenum">
              <a:rPr lang="en-US" smtClean="0"/>
              <a:t>34</a:t>
            </a:fld>
            <a:endParaRPr lang="en-US"/>
          </a:p>
        </p:txBody>
      </p:sp>
    </p:spTree>
    <p:extLst>
      <p:ext uri="{BB962C8B-B14F-4D97-AF65-F5344CB8AC3E}">
        <p14:creationId xmlns:p14="http://schemas.microsoft.com/office/powerpoint/2010/main" val="2503094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35</a:t>
            </a:fld>
            <a:endParaRPr lang="en-US"/>
          </a:p>
        </p:txBody>
      </p:sp>
    </p:spTree>
    <p:extLst>
      <p:ext uri="{BB962C8B-B14F-4D97-AF65-F5344CB8AC3E}">
        <p14:creationId xmlns:p14="http://schemas.microsoft.com/office/powerpoint/2010/main" val="11100885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r>
              <a:rPr lang="en-US" dirty="0"/>
              <a:t>:</a:t>
            </a:r>
          </a:p>
          <a:p>
            <a:pPr marL="171450" indent="-171450">
              <a:buFont typeface="Arial" panose="020B0604020202020204" pitchFamily="34" charset="0"/>
              <a:buChar char="•"/>
            </a:pPr>
            <a:r>
              <a:rPr lang="en-US" dirty="0"/>
              <a:t>Let’s start with a review of what this certification exam entails and what you can expect.</a:t>
            </a:r>
          </a:p>
        </p:txBody>
      </p:sp>
      <p:sp>
        <p:nvSpPr>
          <p:cNvPr id="4" name="Slide Number Placeholder 3"/>
          <p:cNvSpPr>
            <a:spLocks noGrp="1"/>
          </p:cNvSpPr>
          <p:nvPr>
            <p:ph type="sldNum" sz="quarter" idx="5"/>
          </p:nvPr>
        </p:nvSpPr>
        <p:spPr/>
        <p:txBody>
          <a:bodyPr/>
          <a:lstStyle/>
          <a:p>
            <a:fld id="{FD646CA7-A35C-4C75-8327-49AD30806004}" type="slidenum">
              <a:rPr lang="en-US" smtClean="0"/>
              <a:t>4</a:t>
            </a:fld>
            <a:endParaRPr lang="en-US"/>
          </a:p>
        </p:txBody>
      </p:sp>
    </p:spTree>
    <p:extLst>
      <p:ext uri="{BB962C8B-B14F-4D97-AF65-F5344CB8AC3E}">
        <p14:creationId xmlns:p14="http://schemas.microsoft.com/office/powerpoint/2010/main" val="3192779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Overview of what the exam entails and how to pass.</a:t>
            </a:r>
          </a:p>
          <a:p>
            <a:endParaRPr lang="en-US" dirty="0"/>
          </a:p>
          <a:p>
            <a:r>
              <a:rPr lang="en-US" b="1" dirty="0"/>
              <a:t>Speaker Notes</a:t>
            </a:r>
            <a:r>
              <a:rPr lang="en-US" dirty="0"/>
              <a:t>: </a:t>
            </a:r>
          </a:p>
          <a:p>
            <a:r>
              <a:rPr lang="en-US" i="1" dirty="0"/>
              <a:t>*Animation to reveal each component. </a:t>
            </a:r>
          </a:p>
          <a:p>
            <a:pPr marL="228600" indent="-228600">
              <a:buFont typeface="Arial" panose="020B0604020202020204" pitchFamily="34" charset="0"/>
              <a:buAutoNum type="arabicPeriod"/>
            </a:pPr>
            <a:r>
              <a:rPr lang="en-US" dirty="0"/>
              <a:t>In terms of </a:t>
            </a:r>
            <a:r>
              <a:rPr lang="en-US" u="sng" dirty="0"/>
              <a:t>access</a:t>
            </a:r>
            <a:r>
              <a:rPr lang="en-US" dirty="0"/>
              <a:t>, this exam is free to any Apricot users, though recommended for Admins. You will take it online via our Bonterra Academy. We will have a signup to register whether you already have an account or need one.</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When it comes to questions, the initial exam is a mix of 50 multiple choice and True / False. While you won’t have to complete any practical exercises, many of the questions were created with real life scenarios in mind.</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You are welcome to reference any materials you need while taking the exam like the Help Center or your Apricot instance. Consider it open book. Knowing how to find the answer is often as valuable as having it memorized.</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The exam is automatically graded as you submit it, so you will know it real time if you passed. You must get at least 90% of the questions correct.</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If you do not pass on the first go, we will allow for one retake. You will have a 7 day wait before the exam becomes available again, so feel free to use that time to brush up on anything you missed.</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Once you pass, you will receive a digital badge and to maintain that, we just ask that you take our recertification exam every 6 months to make sure you are keeping up to date with new releases and such. This will be a shorter 5-10 question quiz to confirm.</a:t>
            </a:r>
          </a:p>
          <a:p>
            <a:endParaRPr lang="en-US" dirty="0"/>
          </a:p>
          <a:p>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5</a:t>
            </a:fld>
            <a:endParaRPr lang="en-US"/>
          </a:p>
        </p:txBody>
      </p:sp>
    </p:spTree>
    <p:extLst>
      <p:ext uri="{BB962C8B-B14F-4D97-AF65-F5344CB8AC3E}">
        <p14:creationId xmlns:p14="http://schemas.microsoft.com/office/powerpoint/2010/main" val="206164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What happens after certification</a:t>
            </a:r>
          </a:p>
          <a:p>
            <a:endParaRPr lang="en-US" dirty="0"/>
          </a:p>
          <a:p>
            <a:r>
              <a:rPr lang="en-US" b="1" dirty="0"/>
              <a:t>Speaker Notes</a:t>
            </a:r>
            <a:r>
              <a:rPr lang="en-US" dirty="0"/>
              <a:t>:</a:t>
            </a:r>
          </a:p>
          <a:p>
            <a:pPr marL="171450" indent="-171450">
              <a:buFont typeface="Arial" panose="020B0604020202020204" pitchFamily="34" charset="0"/>
              <a:buChar char="•"/>
            </a:pPr>
            <a:r>
              <a:rPr lang="en-US" dirty="0"/>
              <a:t>As mentioned, once you pass the exam you will receive a digital badge that you are welcome to share on LinkedIn, in your email signature, wherever you’d like to showcase your Apricot expertise.</a:t>
            </a:r>
          </a:p>
          <a:p>
            <a:pPr marL="171450" indent="-171450">
              <a:buFont typeface="Arial" panose="020B0604020202020204" pitchFamily="34" charset="0"/>
              <a:buChar char="•"/>
            </a:pPr>
            <a:r>
              <a:rPr lang="en-US" dirty="0"/>
              <a:t>This certification will remain up to date as long as you continue to pass our bi-annual quizzes on latest updates and releases.</a:t>
            </a:r>
          </a:p>
          <a:p>
            <a:pPr marL="171450" indent="-171450">
              <a:buFont typeface="Arial" panose="020B0604020202020204" pitchFamily="34" charset="0"/>
              <a:buChar char="•"/>
            </a:pPr>
            <a:r>
              <a:rPr lang="en-US" dirty="0"/>
              <a:t>We recommend signing up for our newsletter and joining our monthly release trainings to see what’s new.</a:t>
            </a:r>
          </a:p>
          <a:p>
            <a:pPr marL="171450" indent="-171450">
              <a:buFont typeface="Arial" panose="020B0604020202020204" pitchFamily="34" charset="0"/>
              <a:buChar char="•"/>
            </a:pPr>
            <a:endParaRPr lang="en-US" dirty="0"/>
          </a:p>
          <a:p>
            <a:pPr marL="0" indent="0" algn="l">
              <a:buFont typeface="Arial" panose="020B0604020202020204" pitchFamily="34" charset="0"/>
              <a:buNone/>
            </a:pPr>
            <a:r>
              <a:rPr lang="en-US" b="1" dirty="0"/>
              <a:t>LINK to Share</a:t>
            </a:r>
            <a:r>
              <a:rPr lang="en-US" dirty="0"/>
              <a:t>: https://apricot-articles.socialsolutions.com/en/articles/9406409-impact-management-monthly-newsletter-product-update-webinars</a:t>
            </a:r>
          </a:p>
          <a:p>
            <a:pPr marL="0" indent="0" algn="l">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6</a:t>
            </a:fld>
            <a:endParaRPr lang="en-US"/>
          </a:p>
        </p:txBody>
      </p:sp>
    </p:spTree>
    <p:extLst>
      <p:ext uri="{BB962C8B-B14F-4D97-AF65-F5344CB8AC3E}">
        <p14:creationId xmlns:p14="http://schemas.microsoft.com/office/powerpoint/2010/main" val="2475230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Now let’s get in to the meat of what you need to know to be successful on the ex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ve outlined key areas of knowledge that we expect a certified Apricot Admin to have to be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se topic areas are what we’ve drawn from for our 50 questions.</a:t>
            </a:r>
          </a:p>
          <a:p>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7</a:t>
            </a:fld>
            <a:endParaRPr lang="en-US"/>
          </a:p>
        </p:txBody>
      </p:sp>
    </p:spTree>
    <p:extLst>
      <p:ext uri="{BB962C8B-B14F-4D97-AF65-F5344CB8AC3E}">
        <p14:creationId xmlns:p14="http://schemas.microsoft.com/office/powerpoint/2010/main" val="2005458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Overview of the main competency areas the exam will cover (deeper dive into each one to follow).</a:t>
            </a:r>
          </a:p>
          <a:p>
            <a:endParaRPr lang="en-US" dirty="0"/>
          </a:p>
          <a:p>
            <a:r>
              <a:rPr lang="en-US" b="1" dirty="0"/>
              <a:t>Speaker Notes</a:t>
            </a:r>
            <a:r>
              <a:rPr lang="en-US" dirty="0"/>
              <a:t>:</a:t>
            </a:r>
          </a:p>
          <a:p>
            <a:pPr marL="171450" indent="-171450">
              <a:buFont typeface="Arial" panose="020B0604020202020204" pitchFamily="34" charset="0"/>
              <a:buChar char="•"/>
            </a:pPr>
            <a:r>
              <a:rPr lang="en-US" dirty="0"/>
              <a:t>Here is a look at the main areas you will be tested on. </a:t>
            </a:r>
          </a:p>
          <a:p>
            <a:pPr marL="171450" indent="-171450">
              <a:buFont typeface="Arial" panose="020B0604020202020204" pitchFamily="34" charset="0"/>
              <a:buChar char="•"/>
            </a:pPr>
            <a:r>
              <a:rPr lang="en-US" dirty="0"/>
              <a:t>In most cases, there is a foundation of knowledge needed and then the questions will be move advanced assuming you know the basics.</a:t>
            </a:r>
          </a:p>
          <a:p>
            <a:pPr marL="171450" indent="-171450">
              <a:buFont typeface="Arial" panose="020B0604020202020204" pitchFamily="34" charset="0"/>
              <a:buChar char="•"/>
            </a:pPr>
            <a:r>
              <a:rPr lang="en-US" dirty="0"/>
              <a:t>We will go into each of these in more detail in the following slid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A certified Apricot Admin should be comfortable with:</a:t>
            </a:r>
          </a:p>
          <a:p>
            <a:pPr marL="171450" indent="-171450">
              <a:buFont typeface="Arial" panose="020B0604020202020204" pitchFamily="34" charset="0"/>
              <a:buChar char="•"/>
            </a:pPr>
            <a:r>
              <a:rPr lang="en-US" dirty="0"/>
              <a:t>Your role as the Admin for your organization.</a:t>
            </a:r>
          </a:p>
          <a:p>
            <a:pPr marL="171450" indent="-171450">
              <a:buFont typeface="Arial" panose="020B0604020202020204" pitchFamily="34" charset="0"/>
              <a:buChar char="•"/>
            </a:pPr>
            <a:r>
              <a:rPr lang="en-US" dirty="0"/>
              <a:t>How to design and manage forms for collecting data.</a:t>
            </a:r>
          </a:p>
          <a:p>
            <a:pPr marL="171450" indent="-171450">
              <a:buFont typeface="Arial" panose="020B0604020202020204" pitchFamily="34" charset="0"/>
              <a:buChar char="•"/>
            </a:pPr>
            <a:r>
              <a:rPr lang="en-US" dirty="0"/>
              <a:t>Best practices for tracking specific nonprofit use cases.</a:t>
            </a:r>
          </a:p>
          <a:p>
            <a:pPr marL="171450" indent="-171450">
              <a:buFont typeface="Arial" panose="020B0604020202020204" pitchFamily="34" charset="0"/>
              <a:buChar char="•"/>
            </a:pPr>
            <a:r>
              <a:rPr lang="en-US" dirty="0"/>
              <a:t>Building reports to analyze your data.</a:t>
            </a:r>
          </a:p>
          <a:p>
            <a:pPr marL="171450" indent="-171450">
              <a:buFont typeface="Arial" panose="020B0604020202020204" pitchFamily="34" charset="0"/>
              <a:buChar char="•"/>
            </a:pPr>
            <a:r>
              <a:rPr lang="en-US" dirty="0"/>
              <a:t>Managing users and their access in the system.</a:t>
            </a:r>
          </a:p>
          <a:p>
            <a:pPr marL="171450" indent="-171450">
              <a:buFont typeface="Arial" panose="020B0604020202020204" pitchFamily="34" charset="0"/>
              <a:buChar char="•"/>
            </a:pPr>
            <a:r>
              <a:rPr lang="en-US" dirty="0"/>
              <a:t>Managing your data to ensure quality and completeness.</a:t>
            </a:r>
          </a:p>
          <a:p>
            <a:pPr marL="171450" indent="-171450">
              <a:buFont typeface="Arial" panose="020B0604020202020204" pitchFamily="34" charset="0"/>
              <a:buChar char="•"/>
            </a:pPr>
            <a:r>
              <a:rPr lang="en-US" dirty="0"/>
              <a:t>And additional features available within Apricot as neede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8</a:t>
            </a:fld>
            <a:endParaRPr lang="en-US"/>
          </a:p>
        </p:txBody>
      </p:sp>
    </p:spTree>
    <p:extLst>
      <p:ext uri="{BB962C8B-B14F-4D97-AF65-F5344CB8AC3E}">
        <p14:creationId xmlns:p14="http://schemas.microsoft.com/office/powerpoint/2010/main" val="2848111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sson</a:t>
            </a:r>
            <a:r>
              <a:rPr lang="en-US" dirty="0"/>
              <a:t>: Overview of what we mean by the Admin Role.</a:t>
            </a:r>
          </a:p>
          <a:p>
            <a:endParaRPr lang="en-US" dirty="0"/>
          </a:p>
          <a:p>
            <a:r>
              <a:rPr lang="en-US" b="1" dirty="0"/>
              <a:t>Speaker Notes</a:t>
            </a:r>
            <a:r>
              <a:rPr lang="en-US" dirty="0"/>
              <a:t>:</a:t>
            </a:r>
          </a:p>
          <a:p>
            <a:pPr marL="171450" indent="-171450">
              <a:buFont typeface="Arial" panose="020B0604020202020204" pitchFamily="34" charset="0"/>
              <a:buChar char="•"/>
            </a:pPr>
            <a:r>
              <a:rPr lang="en-US" dirty="0"/>
              <a:t>Starting with your Role as an Admin, there are several phases in which you will operate.</a:t>
            </a:r>
          </a:p>
          <a:p>
            <a:pPr marL="171450" indent="-171450">
              <a:buFont typeface="Arial" panose="020B0604020202020204" pitchFamily="34" charset="0"/>
              <a:buChar char="•"/>
            </a:pPr>
            <a:endParaRPr lang="en-US" dirty="0"/>
          </a:p>
          <a:p>
            <a:pPr marL="228600" indent="-228600">
              <a:buFont typeface="Arial" panose="020B0604020202020204" pitchFamily="34" charset="0"/>
              <a:buAutoNum type="arabicPeriod"/>
            </a:pPr>
            <a:r>
              <a:rPr lang="en-US" dirty="0"/>
              <a:t>During Implementation, you will be the main point of contact for our Professional Services team to map out your organization’s needs and translate those into Apricot framework. You will become the expert in both your organization and Apricot. You will likely do a lot of building or customization to the pre-built forms, reports, etc. </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When it’s time to launch your Apricot, you will play a key role in onboarding staff. This usually involves some change management, training and addressing any feedback surfaced to ensure the user experience is positive.</a:t>
            </a:r>
          </a:p>
          <a:p>
            <a:pPr marL="228600" indent="-228600">
              <a:buFont typeface="Arial" panose="020B0604020202020204" pitchFamily="34" charset="0"/>
              <a:buAutoNum type="arabicPeriod"/>
            </a:pPr>
            <a:endParaRPr lang="en-US" dirty="0"/>
          </a:p>
          <a:p>
            <a:pPr marL="228600" indent="-228600">
              <a:buFont typeface="Arial" panose="020B0604020202020204" pitchFamily="34" charset="0"/>
              <a:buAutoNum type="arabicPeriod"/>
            </a:pPr>
            <a:r>
              <a:rPr lang="en-US" dirty="0"/>
              <a:t>For the long term, you will be your team’s go to for all things Apricot. You will manage the system and ensure it’s being used well. You’ll apply any updates as we roll out new features or your organization’s needs change. You’ll be the contact for Support as you run into issues.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From a certification standpoint, the idea here is that you are comfortable with the expectations as an Admin and where to go to manage the various settings, configuration and elements that make for a functional database.</a:t>
            </a:r>
          </a:p>
          <a:p>
            <a:pPr marL="628650" lvl="1" indent="-171450">
              <a:buFont typeface="Arial" panose="020B0604020202020204" pitchFamily="34" charset="0"/>
              <a:buChar char="•"/>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FD646CA7-A35C-4C75-8327-49AD30806004}" type="slidenum">
              <a:rPr lang="en-US" smtClean="0"/>
              <a:t>9</a:t>
            </a:fld>
            <a:endParaRPr lang="en-US"/>
          </a:p>
        </p:txBody>
      </p:sp>
    </p:spTree>
    <p:extLst>
      <p:ext uri="{BB962C8B-B14F-4D97-AF65-F5344CB8AC3E}">
        <p14:creationId xmlns:p14="http://schemas.microsoft.com/office/powerpoint/2010/main" val="1637652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6.png"/><Relationship Id="rId4" Type="http://schemas.openxmlformats.org/officeDocument/2006/relationships/image" Target="../media/image15.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eriwinkle">
    <p:bg>
      <p:bgPr>
        <a:solidFill>
          <a:srgbClr val="7583FF"/>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349836098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indent="0" algn="l">
              <a:buNone/>
              <a:defRPr sz="2000" cap="all" baseline="0">
                <a:solidFill>
                  <a:schemeClr val="bg1"/>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2896D322-8EF1-4D42-9410-ED25FF4DC8EB}"/>
              </a:ext>
            </a:extLst>
          </p:cNvPr>
          <p:cNvSpPr/>
          <p:nvPr/>
        </p:nvSpPr>
        <p:spPr>
          <a:xfrm>
            <a:off x="0" y="6629400"/>
            <a:ext cx="121920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A white text on a black background&#10;&#10;Description automatically generated">
            <a:extLst>
              <a:ext uri="{FF2B5EF4-FFF2-40B4-BE49-F238E27FC236}">
                <a16:creationId xmlns:a16="http://schemas.microsoft.com/office/drawing/2014/main" id="{4384D48D-F6F5-8613-1B6B-118444AFF4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6" y="5786151"/>
            <a:ext cx="2617308" cy="490335"/>
          </a:xfrm>
          <a:prstGeom prst="rect">
            <a:avLst/>
          </a:prstGeom>
        </p:spPr>
      </p:pic>
    </p:spTree>
    <p:extLst>
      <p:ext uri="{BB962C8B-B14F-4D97-AF65-F5344CB8AC3E}">
        <p14:creationId xmlns:p14="http://schemas.microsoft.com/office/powerpoint/2010/main" val="3791568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A51B4A-1076-1B4B-8A9E-E6AB7CAF1CF8}"/>
              </a:ext>
            </a:extLst>
          </p:cNvPr>
          <p:cNvGraphicFramePr>
            <a:graphicFrameLocks noChangeAspect="1"/>
          </p:cNvGraphicFramePr>
          <p:nvPr>
            <p:custDataLst>
              <p:tags r:id="rId1"/>
            </p:custDataLst>
            <p:extLst>
              <p:ext uri="{D42A27DB-BD31-4B8C-83A1-F6EECF244321}">
                <p14:modId xmlns:p14="http://schemas.microsoft.com/office/powerpoint/2010/main" val="397976942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57A51B4A-1076-1B4B-8A9E-E6AB7CAF1CF8}"/>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4C1FD3-AEA2-43F4-901E-1D442D631F2E}"/>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012AC75C-C173-4C27-81AE-06BAF5EC27AA}"/>
              </a:ext>
            </a:extLst>
          </p:cNvPr>
          <p:cNvSpPr>
            <a:spLocks noGrp="1"/>
          </p:cNvSpPr>
          <p:nvPr>
            <p:ph idx="1" hasCustomPrompt="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4506B183-EF49-F441-BFF3-C5E7D5BB75A5}"/>
              </a:ext>
            </a:extLst>
          </p:cNvPr>
          <p:cNvSpPr>
            <a:spLocks noGrp="1"/>
          </p:cNvSpPr>
          <p:nvPr>
            <p:ph type="body" sz="half" idx="2"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3306200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856253-0F80-5C45-A8D8-0F12D40ECAD9}"/>
              </a:ext>
            </a:extLst>
          </p:cNvPr>
          <p:cNvGraphicFramePr>
            <a:graphicFrameLocks noChangeAspect="1"/>
          </p:cNvGraphicFramePr>
          <p:nvPr>
            <p:custDataLst>
              <p:tags r:id="rId1"/>
            </p:custDataLst>
            <p:extLst>
              <p:ext uri="{D42A27DB-BD31-4B8C-83A1-F6EECF244321}">
                <p14:modId xmlns:p14="http://schemas.microsoft.com/office/powerpoint/2010/main" val="2563809262"/>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9856253-0F80-5C45-A8D8-0F12D40ECAD9}"/>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52E5D2-4189-46DE-B2DD-8E1F482B3DEA}"/>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360CE9ED-C6B5-41B5-95FC-1ECB771337F5}"/>
              </a:ext>
            </a:extLst>
          </p:cNvPr>
          <p:cNvSpPr>
            <a:spLocks noGrp="1"/>
          </p:cNvSpPr>
          <p:nvPr>
            <p:ph sz="half" idx="1" hasCustomPrompt="1"/>
          </p:nvPr>
        </p:nvSpPr>
        <p:spPr>
          <a:xfrm>
            <a:off x="457200" y="1737361"/>
            <a:ext cx="5401651" cy="44269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BEE0CE64-7607-4841-90F6-D9761BF0507B}"/>
              </a:ext>
            </a:extLst>
          </p:cNvPr>
          <p:cNvSpPr>
            <a:spLocks noGrp="1"/>
          </p:cNvSpPr>
          <p:nvPr>
            <p:ph sz="half" idx="2" hasCustomPrompt="1"/>
          </p:nvPr>
        </p:nvSpPr>
        <p:spPr>
          <a:xfrm>
            <a:off x="6333149" y="1733550"/>
            <a:ext cx="5401651" cy="44269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52D48F5F-2116-75EE-922B-D54BE7D714EA}"/>
              </a:ext>
            </a:extLst>
          </p:cNvPr>
          <p:cNvSpPr>
            <a:spLocks noGrp="1"/>
          </p:cNvSpPr>
          <p:nvPr>
            <p:ph type="body" sz="half" idx="10"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3044783206"/>
      </p:ext>
    </p:extLst>
  </p:cSld>
  <p:clrMapOvr>
    <a:masterClrMapping/>
  </p:clrMapOvr>
  <p:extLst>
    <p:ext uri="{DCECCB84-F9BA-43D5-87BE-67443E8EF086}">
      <p15:sldGuideLst xmlns:p15="http://schemas.microsoft.com/office/powerpoint/2012/main">
        <p15:guide id="1" pos="3984">
          <p15:clr>
            <a:srgbClr val="FBAE40"/>
          </p15:clr>
        </p15:guide>
        <p15:guide id="2" pos="369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856253-0F80-5C45-A8D8-0F12D40ECAD9}"/>
              </a:ext>
            </a:extLst>
          </p:cNvPr>
          <p:cNvGraphicFramePr>
            <a:graphicFrameLocks noChangeAspect="1"/>
          </p:cNvGraphicFramePr>
          <p:nvPr>
            <p:custDataLst>
              <p:tags r:id="rId1"/>
            </p:custDataLst>
            <p:extLst>
              <p:ext uri="{D42A27DB-BD31-4B8C-83A1-F6EECF244321}">
                <p14:modId xmlns:p14="http://schemas.microsoft.com/office/powerpoint/2010/main" val="330798488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9856253-0F80-5C45-A8D8-0F12D40ECAD9}"/>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52E5D2-4189-46DE-B2DD-8E1F482B3DEA}"/>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360CE9ED-C6B5-41B5-95FC-1ECB771337F5}"/>
              </a:ext>
            </a:extLst>
          </p:cNvPr>
          <p:cNvSpPr>
            <a:spLocks noGrp="1"/>
          </p:cNvSpPr>
          <p:nvPr>
            <p:ph sz="half" idx="1" hasCustomPrompt="1"/>
          </p:nvPr>
        </p:nvSpPr>
        <p:spPr>
          <a:xfrm>
            <a:off x="457201" y="1737361"/>
            <a:ext cx="3456151" cy="4426903"/>
          </a:xfrm>
        </p:spPr>
        <p:txBody>
          <a:bodyPr/>
          <a:lstStyle>
            <a:lvl1pPr>
              <a:defRPr sz="16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BEE0CE64-7607-4841-90F6-D9761BF0507B}"/>
              </a:ext>
            </a:extLst>
          </p:cNvPr>
          <p:cNvSpPr>
            <a:spLocks noGrp="1"/>
          </p:cNvSpPr>
          <p:nvPr>
            <p:ph sz="half" idx="2" hasCustomPrompt="1"/>
          </p:nvPr>
        </p:nvSpPr>
        <p:spPr>
          <a:xfrm>
            <a:off x="4346091" y="1733550"/>
            <a:ext cx="3456151" cy="4426903"/>
          </a:xfrm>
        </p:spPr>
        <p:txBody>
          <a:bodyPr/>
          <a:lstStyle>
            <a:lvl1pPr>
              <a:defRPr sz="16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28D83459-BC14-CE46-A53C-123D2BC9DFDB}"/>
              </a:ext>
            </a:extLst>
          </p:cNvPr>
          <p:cNvSpPr>
            <a:spLocks noGrp="1"/>
          </p:cNvSpPr>
          <p:nvPr>
            <p:ph sz="half" idx="10" hasCustomPrompt="1"/>
          </p:nvPr>
        </p:nvSpPr>
        <p:spPr>
          <a:xfrm>
            <a:off x="8278650" y="1733550"/>
            <a:ext cx="3456151" cy="4426903"/>
          </a:xfrm>
        </p:spPr>
        <p:txBody>
          <a:bodyPr/>
          <a:lstStyle>
            <a:lvl1pPr>
              <a:defRPr sz="1600"/>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77127F3-D7C7-8590-040D-95BD42CCDE70}"/>
              </a:ext>
            </a:extLst>
          </p:cNvPr>
          <p:cNvSpPr>
            <a:spLocks noGrp="1"/>
          </p:cNvSpPr>
          <p:nvPr>
            <p:ph type="body" sz="half" idx="11"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134888135"/>
      </p:ext>
    </p:extLst>
  </p:cSld>
  <p:clrMapOvr>
    <a:masterClrMapping/>
  </p:clrMapOvr>
  <p:extLst>
    <p:ext uri="{DCECCB84-F9BA-43D5-87BE-67443E8EF086}">
      <p15:sldGuideLst xmlns:p15="http://schemas.microsoft.com/office/powerpoint/2012/main">
        <p15:guide id="1" pos="5208">
          <p15:clr>
            <a:srgbClr val="FBAE40"/>
          </p15:clr>
        </p15:guide>
        <p15:guide id="2" pos="2736">
          <p15:clr>
            <a:srgbClr val="FBAE40"/>
          </p15:clr>
        </p15:guide>
        <p15:guide id="3" pos="2465">
          <p15:clr>
            <a:srgbClr val="FBAE40"/>
          </p15:clr>
        </p15:guide>
        <p15:guide id="4" pos="491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856253-0F80-5C45-A8D8-0F12D40ECAD9}"/>
              </a:ext>
            </a:extLst>
          </p:cNvPr>
          <p:cNvGraphicFramePr>
            <a:graphicFrameLocks noChangeAspect="1"/>
          </p:cNvGraphicFramePr>
          <p:nvPr>
            <p:custDataLst>
              <p:tags r:id="rId1"/>
            </p:custDataLst>
            <p:extLst>
              <p:ext uri="{D42A27DB-BD31-4B8C-83A1-F6EECF244321}">
                <p14:modId xmlns:p14="http://schemas.microsoft.com/office/powerpoint/2010/main" val="215961538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9856253-0F80-5C45-A8D8-0F12D40ECAD9}"/>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52E5D2-4189-46DE-B2DD-8E1F482B3DEA}"/>
              </a:ext>
            </a:extLst>
          </p:cNvPr>
          <p:cNvSpPr>
            <a:spLocks noGrp="1"/>
          </p:cNvSpPr>
          <p:nvPr>
            <p:ph type="title" hasCustomPrompt="1"/>
          </p:nvPr>
        </p:nvSpPr>
        <p:spPr/>
        <p:txBody>
          <a:bodyPr vert="horz"/>
          <a:lstStyle/>
          <a:p>
            <a:r>
              <a:rPr lang="en-US" dirty="0"/>
              <a:t>Click to edit master title style</a:t>
            </a:r>
          </a:p>
        </p:txBody>
      </p:sp>
      <p:sp>
        <p:nvSpPr>
          <p:cNvPr id="3" name="Content Placeholder 2">
            <a:extLst>
              <a:ext uri="{FF2B5EF4-FFF2-40B4-BE49-F238E27FC236}">
                <a16:creationId xmlns:a16="http://schemas.microsoft.com/office/drawing/2014/main" id="{360CE9ED-C6B5-41B5-95FC-1ECB771337F5}"/>
              </a:ext>
            </a:extLst>
          </p:cNvPr>
          <p:cNvSpPr>
            <a:spLocks noGrp="1"/>
          </p:cNvSpPr>
          <p:nvPr>
            <p:ph sz="half" idx="1" hasCustomPrompt="1"/>
          </p:nvPr>
        </p:nvSpPr>
        <p:spPr>
          <a:xfrm>
            <a:off x="457200" y="1737361"/>
            <a:ext cx="2479675" cy="4426903"/>
          </a:xfrm>
        </p:spPr>
        <p:txBody>
          <a:bodyPr/>
          <a:lstStyle>
            <a:lvl1pPr>
              <a:defRPr sz="1400"/>
            </a:lvl1pPr>
            <a:lvl2pPr>
              <a:defRPr sz="14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BEE0CE64-7607-4841-90F6-D9761BF0507B}"/>
              </a:ext>
            </a:extLst>
          </p:cNvPr>
          <p:cNvSpPr>
            <a:spLocks noGrp="1"/>
          </p:cNvSpPr>
          <p:nvPr>
            <p:ph sz="half" idx="2" hasCustomPrompt="1"/>
          </p:nvPr>
        </p:nvSpPr>
        <p:spPr>
          <a:xfrm>
            <a:off x="3390901" y="1733550"/>
            <a:ext cx="2479675" cy="4426903"/>
          </a:xfrm>
        </p:spPr>
        <p:txBody>
          <a:bodyPr/>
          <a:lstStyle>
            <a:lvl1pPr>
              <a:defRPr sz="1400"/>
            </a:lvl1pPr>
            <a:lvl2pPr>
              <a:defRPr sz="14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p:txBody>
      </p:sp>
      <p:sp>
        <p:nvSpPr>
          <p:cNvPr id="9" name="Content Placeholder 3">
            <a:extLst>
              <a:ext uri="{FF2B5EF4-FFF2-40B4-BE49-F238E27FC236}">
                <a16:creationId xmlns:a16="http://schemas.microsoft.com/office/drawing/2014/main" id="{28D83459-BC14-CE46-A53C-123D2BC9DFDB}"/>
              </a:ext>
            </a:extLst>
          </p:cNvPr>
          <p:cNvSpPr>
            <a:spLocks noGrp="1"/>
          </p:cNvSpPr>
          <p:nvPr>
            <p:ph sz="half" idx="10" hasCustomPrompt="1"/>
          </p:nvPr>
        </p:nvSpPr>
        <p:spPr>
          <a:xfrm>
            <a:off x="6324601" y="1733550"/>
            <a:ext cx="2479675" cy="4426903"/>
          </a:xfrm>
        </p:spPr>
        <p:txBody>
          <a:bodyPr/>
          <a:lstStyle>
            <a:lvl1pPr>
              <a:defRPr sz="1400"/>
            </a:lvl1pPr>
            <a:lvl2pPr>
              <a:defRPr sz="14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p:txBody>
      </p:sp>
      <p:sp>
        <p:nvSpPr>
          <p:cNvPr id="11" name="Content Placeholder 3">
            <a:extLst>
              <a:ext uri="{FF2B5EF4-FFF2-40B4-BE49-F238E27FC236}">
                <a16:creationId xmlns:a16="http://schemas.microsoft.com/office/drawing/2014/main" id="{402A2257-F9DA-3648-A6C6-3D04CE5B4E42}"/>
              </a:ext>
            </a:extLst>
          </p:cNvPr>
          <p:cNvSpPr>
            <a:spLocks noGrp="1"/>
          </p:cNvSpPr>
          <p:nvPr>
            <p:ph sz="half" idx="12" hasCustomPrompt="1"/>
          </p:nvPr>
        </p:nvSpPr>
        <p:spPr>
          <a:xfrm>
            <a:off x="9255125" y="1733550"/>
            <a:ext cx="2479675" cy="4426903"/>
          </a:xfrm>
        </p:spPr>
        <p:txBody>
          <a:bodyPr/>
          <a:lstStyle>
            <a:lvl1pPr>
              <a:defRPr sz="1400"/>
            </a:lvl1pPr>
            <a:lvl2pPr>
              <a:defRPr sz="14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p:txBody>
      </p:sp>
      <p:sp>
        <p:nvSpPr>
          <p:cNvPr id="5" name="Text Placeholder 3">
            <a:extLst>
              <a:ext uri="{FF2B5EF4-FFF2-40B4-BE49-F238E27FC236}">
                <a16:creationId xmlns:a16="http://schemas.microsoft.com/office/drawing/2014/main" id="{E60984B0-9628-B94F-F812-0E06E7F143E2}"/>
              </a:ext>
            </a:extLst>
          </p:cNvPr>
          <p:cNvSpPr>
            <a:spLocks noGrp="1"/>
          </p:cNvSpPr>
          <p:nvPr>
            <p:ph type="body" sz="half" idx="13"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14156674"/>
      </p:ext>
    </p:extLst>
  </p:cSld>
  <p:clrMapOvr>
    <a:masterClrMapping/>
  </p:clrMapOvr>
  <p:extLst>
    <p:ext uri="{DCECCB84-F9BA-43D5-87BE-67443E8EF086}">
      <p15:sldGuideLst xmlns:p15="http://schemas.microsoft.com/office/powerpoint/2012/main">
        <p15:guide id="1" pos="5824">
          <p15:clr>
            <a:srgbClr val="FBAE40"/>
          </p15:clr>
        </p15:guide>
        <p15:guide id="2" pos="3984">
          <p15:clr>
            <a:srgbClr val="FBAE40"/>
          </p15:clr>
        </p15:guide>
        <p15:guide id="3" pos="2136">
          <p15:clr>
            <a:srgbClr val="FBAE40"/>
          </p15:clr>
        </p15:guide>
        <p15:guide id="4" pos="5542">
          <p15:clr>
            <a:srgbClr val="FBAE40"/>
          </p15:clr>
        </p15:guide>
        <p15:guide id="5" pos="1845">
          <p15:clr>
            <a:srgbClr val="FBAE40"/>
          </p15:clr>
        </p15:guide>
        <p15:guide id="6" pos="369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A80CE-EF23-4AAC-8826-2052F06EFD54}"/>
              </a:ext>
            </a:extLst>
          </p:cNvPr>
          <p:cNvSpPr>
            <a:spLocks noGrp="1"/>
          </p:cNvSpPr>
          <p:nvPr>
            <p:ph type="title" hasCustomPrompt="1"/>
          </p:nvPr>
        </p:nvSpPr>
        <p:spPr/>
        <p:txBody>
          <a:bodyPr/>
          <a:lstStyle/>
          <a:p>
            <a:r>
              <a:rPr lang="en-US" dirty="0"/>
              <a:t>Click to edit master title style</a:t>
            </a:r>
          </a:p>
        </p:txBody>
      </p:sp>
      <p:sp>
        <p:nvSpPr>
          <p:cNvPr id="4" name="Text Placeholder 3">
            <a:extLst>
              <a:ext uri="{FF2B5EF4-FFF2-40B4-BE49-F238E27FC236}">
                <a16:creationId xmlns:a16="http://schemas.microsoft.com/office/drawing/2014/main" id="{5EFFBDFF-72EC-51BD-2375-22964F3CF3E0}"/>
              </a:ext>
            </a:extLst>
          </p:cNvPr>
          <p:cNvSpPr>
            <a:spLocks noGrp="1"/>
          </p:cNvSpPr>
          <p:nvPr>
            <p:ph type="body" sz="half" idx="2"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1301243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E6A707E6-43EB-3049-2ADD-FD6447EB7F90}"/>
              </a:ext>
            </a:extLst>
          </p:cNvPr>
          <p:cNvSpPr>
            <a:spLocks noGrp="1"/>
          </p:cNvSpPr>
          <p:nvPr>
            <p:ph type="body" sz="half" idx="2" hasCustomPrompt="1"/>
          </p:nvPr>
        </p:nvSpPr>
        <p:spPr>
          <a:xfrm>
            <a:off x="3573405" y="6415043"/>
            <a:ext cx="5045187" cy="319707"/>
          </a:xfrm>
        </p:spPr>
        <p:txBody>
          <a:bodyPr anchor="ctr"/>
          <a:lstStyle>
            <a:lvl1pPr marL="0" indent="0" algn="ctr">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0123758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alf Content Periwink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12016843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5854125" y="0"/>
            <a:ext cx="6337876" cy="68580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4942943"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201" y="1737360"/>
            <a:ext cx="4942943"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sp>
        <p:nvSpPr>
          <p:cNvPr id="13" name="Text Placeholder 3">
            <a:extLst>
              <a:ext uri="{FF2B5EF4-FFF2-40B4-BE49-F238E27FC236}">
                <a16:creationId xmlns:a16="http://schemas.microsoft.com/office/drawing/2014/main" id="{F5829F0C-E0C9-8E48-91C6-A41875A5B79F}"/>
              </a:ext>
            </a:extLst>
          </p:cNvPr>
          <p:cNvSpPr>
            <a:spLocks noGrp="1"/>
          </p:cNvSpPr>
          <p:nvPr>
            <p:ph type="body" sz="half" idx="11" hasCustomPrompt="1"/>
          </p:nvPr>
        </p:nvSpPr>
        <p:spPr>
          <a:xfrm>
            <a:off x="6324600" y="6403975"/>
            <a:ext cx="3446053" cy="319707"/>
          </a:xfrm>
        </p:spPr>
        <p:txBody>
          <a:bodyPr anchor="ctr"/>
          <a:lstStyle>
            <a:lvl1pPr marL="0" indent="0" algn="l">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6324600" y="454025"/>
            <a:ext cx="5410200" cy="57086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9581335"/>
      </p:ext>
    </p:extLst>
  </p:cSld>
  <p:clrMapOvr>
    <a:masterClrMapping/>
  </p:clrMapOvr>
  <p:extLst>
    <p:ext uri="{DCECCB84-F9BA-43D5-87BE-67443E8EF086}">
      <p15:sldGuideLst xmlns:p15="http://schemas.microsoft.com/office/powerpoint/2012/main">
        <p15:guide id="1" pos="3408">
          <p15:clr>
            <a:srgbClr val="FBAE40"/>
          </p15:clr>
        </p15:guide>
        <p15:guide id="2"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f Content Indig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12016843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5854125" y="0"/>
            <a:ext cx="6337876" cy="6858000"/>
          </a:xfrm>
          <a:prstGeom prst="rect">
            <a:avLst/>
          </a:prstGeom>
          <a:solidFill>
            <a:srgbClr val="381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4942943"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201" y="1737360"/>
            <a:ext cx="4942943"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6324600" y="454025"/>
            <a:ext cx="5410200" cy="57086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3">
            <a:extLst>
              <a:ext uri="{FF2B5EF4-FFF2-40B4-BE49-F238E27FC236}">
                <a16:creationId xmlns:a16="http://schemas.microsoft.com/office/drawing/2014/main" id="{742BE93E-57AB-1305-59F3-BECDEEF324EF}"/>
              </a:ext>
            </a:extLst>
          </p:cNvPr>
          <p:cNvSpPr>
            <a:spLocks noGrp="1"/>
          </p:cNvSpPr>
          <p:nvPr>
            <p:ph type="body" sz="half" idx="11" hasCustomPrompt="1"/>
          </p:nvPr>
        </p:nvSpPr>
        <p:spPr>
          <a:xfrm>
            <a:off x="6324600" y="6403975"/>
            <a:ext cx="3446053" cy="319707"/>
          </a:xfrm>
        </p:spPr>
        <p:txBody>
          <a:bodyPr anchor="ctr"/>
          <a:lstStyle>
            <a:lvl1pPr marL="0" indent="0" algn="l">
              <a:buNone/>
              <a:defRPr sz="100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99272222"/>
      </p:ext>
    </p:extLst>
  </p:cSld>
  <p:clrMapOvr>
    <a:masterClrMapping/>
  </p:clrMapOvr>
  <p:extLst>
    <p:ext uri="{DCECCB84-F9BA-43D5-87BE-67443E8EF086}">
      <p15:sldGuideLst xmlns:p15="http://schemas.microsoft.com/office/powerpoint/2012/main">
        <p15:guide id="1" pos="3408">
          <p15:clr>
            <a:srgbClr val="FBAE40"/>
          </p15:clr>
        </p15:guide>
        <p15:guide id="2" pos="39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alf Content Manill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120168434"/>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5854125" y="0"/>
            <a:ext cx="6337876" cy="6858000"/>
          </a:xfrm>
          <a:prstGeom prst="rect">
            <a:avLst/>
          </a:prstGeom>
          <a:solidFill>
            <a:srgbClr val="FFF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4942943"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201" y="1737360"/>
            <a:ext cx="4942943"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6324600" y="454025"/>
            <a:ext cx="5410200" cy="570865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3">
            <a:extLst>
              <a:ext uri="{FF2B5EF4-FFF2-40B4-BE49-F238E27FC236}">
                <a16:creationId xmlns:a16="http://schemas.microsoft.com/office/drawing/2014/main" id="{F800A06F-0786-3936-F4D9-3ADC65DED6BD}"/>
              </a:ext>
            </a:extLst>
          </p:cNvPr>
          <p:cNvSpPr>
            <a:spLocks noGrp="1"/>
          </p:cNvSpPr>
          <p:nvPr>
            <p:ph type="body" sz="half" idx="11" hasCustomPrompt="1"/>
          </p:nvPr>
        </p:nvSpPr>
        <p:spPr>
          <a:xfrm>
            <a:off x="6324600" y="6403975"/>
            <a:ext cx="3446053" cy="319707"/>
          </a:xfrm>
        </p:spPr>
        <p:txBody>
          <a:bodyPr anchor="ctr"/>
          <a:lstStyle>
            <a:lvl1pPr marL="0" indent="0" algn="l">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294050440"/>
      </p:ext>
    </p:extLst>
  </p:cSld>
  <p:clrMapOvr>
    <a:masterClrMapping/>
  </p:clrMapOvr>
  <p:extLst>
    <p:ext uri="{DCECCB84-F9BA-43D5-87BE-67443E8EF086}">
      <p15:sldGuideLst xmlns:p15="http://schemas.microsoft.com/office/powerpoint/2012/main">
        <p15:guide id="1" pos="3408">
          <p15:clr>
            <a:srgbClr val="FBAE40"/>
          </p15:clr>
        </p15:guide>
        <p15:guide id="2" pos="39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Half Content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21721452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610DDF29-AA97-DF42-99A7-0FACFDE11CA9}"/>
              </a:ext>
            </a:extLst>
          </p:cNvPr>
          <p:cNvSpPr>
            <a:spLocks noGrp="1"/>
          </p:cNvSpPr>
          <p:nvPr>
            <p:ph type="pic" sz="quarter" idx="12"/>
          </p:nvPr>
        </p:nvSpPr>
        <p:spPr>
          <a:xfrm>
            <a:off x="5854125" y="0"/>
            <a:ext cx="6337876" cy="6858000"/>
          </a:xfrm>
          <a:solidFill>
            <a:schemeClr val="bg1">
              <a:lumMod val="95000"/>
            </a:schemeClr>
          </a:solidFill>
        </p:spPr>
        <p:txBody>
          <a:bodyPr/>
          <a:lstStyle>
            <a:lvl1pPr>
              <a:defRPr sz="1200">
                <a:solidFill>
                  <a:srgbClr val="F2342F"/>
                </a:solidFill>
              </a:defRPr>
            </a:lvl1pPr>
          </a:lstStyle>
          <a:p>
            <a:r>
              <a:rPr lang="en-US"/>
              <a:t>Click icon to add picture</a:t>
            </a:r>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4942943"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201" y="1737360"/>
            <a:ext cx="4942943"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sp>
        <p:nvSpPr>
          <p:cNvPr id="3" name="Text Placeholder 3">
            <a:extLst>
              <a:ext uri="{FF2B5EF4-FFF2-40B4-BE49-F238E27FC236}">
                <a16:creationId xmlns:a16="http://schemas.microsoft.com/office/drawing/2014/main" id="{0DAFA80C-3A67-B877-24A6-240A788E90A6}"/>
              </a:ext>
            </a:extLst>
          </p:cNvPr>
          <p:cNvSpPr>
            <a:spLocks noGrp="1"/>
          </p:cNvSpPr>
          <p:nvPr>
            <p:ph type="body" sz="half" idx="11" hasCustomPrompt="1"/>
          </p:nvPr>
        </p:nvSpPr>
        <p:spPr>
          <a:xfrm>
            <a:off x="6324600" y="6403975"/>
            <a:ext cx="3446053" cy="319707"/>
          </a:xfrm>
        </p:spPr>
        <p:txBody>
          <a:bodyPr anchor="ctr"/>
          <a:lstStyle>
            <a:lvl1pPr marL="0" indent="0" algn="l">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142700447"/>
      </p:ext>
    </p:extLst>
  </p:cSld>
  <p:clrMapOvr>
    <a:masterClrMapping/>
  </p:clrMapOvr>
  <p:extLst>
    <p:ext uri="{DCECCB84-F9BA-43D5-87BE-67443E8EF086}">
      <p15:sldGuideLst xmlns:p15="http://schemas.microsoft.com/office/powerpoint/2012/main">
        <p15:guide id="1" pos="34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Indigo">
    <p:bg>
      <p:bgPr>
        <a:solidFill>
          <a:srgbClr val="381360"/>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45549690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indent="0" algn="l">
              <a:buNone/>
              <a:defRPr sz="2000" cap="all" baseline="0">
                <a:solidFill>
                  <a:schemeClr val="bg1"/>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9CB84669-20E1-1345-9799-6891DEDC06AA}"/>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white text on a black background&#10;&#10;Description automatically generated">
            <a:extLst>
              <a:ext uri="{FF2B5EF4-FFF2-40B4-BE49-F238E27FC236}">
                <a16:creationId xmlns:a16="http://schemas.microsoft.com/office/drawing/2014/main" id="{018784BB-AFA3-18ED-470B-4FB0032DCF4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6" y="5786151"/>
            <a:ext cx="2617308" cy="490335"/>
          </a:xfrm>
          <a:prstGeom prst="rect">
            <a:avLst/>
          </a:prstGeom>
        </p:spPr>
      </p:pic>
    </p:spTree>
    <p:extLst>
      <p:ext uri="{BB962C8B-B14F-4D97-AF65-F5344CB8AC3E}">
        <p14:creationId xmlns:p14="http://schemas.microsoft.com/office/powerpoint/2010/main" val="3360777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3 Content Periwink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95132508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7819026" y="0"/>
            <a:ext cx="4372975" cy="68580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6891927"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199" y="1737360"/>
            <a:ext cx="6891927"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2"/>
                </a:solidFill>
              </a:rPr>
              <a:pPr algn="r"/>
              <a:t>‹#›</a:t>
            </a:fld>
            <a:endParaRPr lang="en-US" sz="1200" dirty="0">
              <a:solidFill>
                <a:schemeClr val="tx2"/>
              </a:solidFill>
            </a:endParaRPr>
          </a:p>
        </p:txBody>
      </p:sp>
      <p:sp>
        <p:nvSpPr>
          <p:cNvPr id="13" name="Text Placeholder 3">
            <a:extLst>
              <a:ext uri="{FF2B5EF4-FFF2-40B4-BE49-F238E27FC236}">
                <a16:creationId xmlns:a16="http://schemas.microsoft.com/office/drawing/2014/main" id="{F5829F0C-E0C9-8E48-91C6-A41875A5B79F}"/>
              </a:ext>
            </a:extLst>
          </p:cNvPr>
          <p:cNvSpPr>
            <a:spLocks noGrp="1"/>
          </p:cNvSpPr>
          <p:nvPr>
            <p:ph type="body" sz="half" idx="11" hasCustomPrompt="1"/>
          </p:nvPr>
        </p:nvSpPr>
        <p:spPr>
          <a:xfrm>
            <a:off x="3903072" y="6412003"/>
            <a:ext cx="3446053" cy="319707"/>
          </a:xfrm>
        </p:spPr>
        <p:txBody>
          <a:bodyPr anchor="ctr"/>
          <a:lstStyle>
            <a:lvl1pPr marL="0" indent="0" algn="r">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8280400" y="454025"/>
            <a:ext cx="3454400" cy="57086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31519560"/>
      </p:ext>
    </p:extLst>
  </p:cSld>
  <p:clrMapOvr>
    <a:masterClrMapping/>
  </p:clrMapOvr>
  <p:extLst>
    <p:ext uri="{DCECCB84-F9BA-43D5-87BE-67443E8EF086}">
      <p15:sldGuideLst xmlns:p15="http://schemas.microsoft.com/office/powerpoint/2012/main">
        <p15:guide id="1" pos="4632">
          <p15:clr>
            <a:srgbClr val="FBAE40"/>
          </p15:clr>
        </p15:guide>
        <p15:guide id="2" pos="52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3 Content Indig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95132508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7819026" y="0"/>
            <a:ext cx="4372975" cy="6858000"/>
          </a:xfrm>
          <a:prstGeom prst="rect">
            <a:avLst/>
          </a:prstGeom>
          <a:solidFill>
            <a:srgbClr val="3813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6891927"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199" y="1737360"/>
            <a:ext cx="6891927"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8280400" y="454025"/>
            <a:ext cx="3454400" cy="570865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3">
            <a:extLst>
              <a:ext uri="{FF2B5EF4-FFF2-40B4-BE49-F238E27FC236}">
                <a16:creationId xmlns:a16="http://schemas.microsoft.com/office/drawing/2014/main" id="{767A421B-AA23-03E2-5481-9EEC0F5EEB44}"/>
              </a:ext>
            </a:extLst>
          </p:cNvPr>
          <p:cNvSpPr>
            <a:spLocks noGrp="1"/>
          </p:cNvSpPr>
          <p:nvPr>
            <p:ph type="body" sz="half" idx="11" hasCustomPrompt="1"/>
          </p:nvPr>
        </p:nvSpPr>
        <p:spPr>
          <a:xfrm>
            <a:off x="3903072" y="6412003"/>
            <a:ext cx="3446053" cy="319707"/>
          </a:xfrm>
        </p:spPr>
        <p:txBody>
          <a:bodyPr anchor="ctr"/>
          <a:lstStyle>
            <a:lvl1pPr marL="0" indent="0" algn="r">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272461307"/>
      </p:ext>
    </p:extLst>
  </p:cSld>
  <p:clrMapOvr>
    <a:masterClrMapping/>
  </p:clrMapOvr>
  <p:extLst>
    <p:ext uri="{DCECCB84-F9BA-43D5-87BE-67443E8EF086}">
      <p15:sldGuideLst xmlns:p15="http://schemas.microsoft.com/office/powerpoint/2012/main">
        <p15:guide id="1" pos="4632">
          <p15:clr>
            <a:srgbClr val="FBAE40"/>
          </p15:clr>
        </p15:guide>
        <p15:guide id="2" pos="521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3 Content Manill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295132508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CD80B0D-9F26-A14C-A58A-42B3EDF42CC7}"/>
              </a:ext>
            </a:extLst>
          </p:cNvPr>
          <p:cNvSpPr/>
          <p:nvPr/>
        </p:nvSpPr>
        <p:spPr>
          <a:xfrm>
            <a:off x="7819026" y="0"/>
            <a:ext cx="4372975" cy="6858000"/>
          </a:xfrm>
          <a:prstGeom prst="rect">
            <a:avLst/>
          </a:prstGeom>
          <a:solidFill>
            <a:srgbClr val="FFF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6891927"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199" y="1737360"/>
            <a:ext cx="6891927"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sp>
        <p:nvSpPr>
          <p:cNvPr id="17" name="Content Placeholder 16">
            <a:extLst>
              <a:ext uri="{FF2B5EF4-FFF2-40B4-BE49-F238E27FC236}">
                <a16:creationId xmlns:a16="http://schemas.microsoft.com/office/drawing/2014/main" id="{FA211AB7-1CF1-4343-873E-FF450B352919}"/>
              </a:ext>
            </a:extLst>
          </p:cNvPr>
          <p:cNvSpPr>
            <a:spLocks noGrp="1"/>
          </p:cNvSpPr>
          <p:nvPr>
            <p:ph sz="quarter" idx="12" hasCustomPrompt="1"/>
          </p:nvPr>
        </p:nvSpPr>
        <p:spPr>
          <a:xfrm>
            <a:off x="8280400" y="454025"/>
            <a:ext cx="3454400" cy="570865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p:txBody>
      </p:sp>
      <p:sp>
        <p:nvSpPr>
          <p:cNvPr id="3" name="Text Placeholder 3">
            <a:extLst>
              <a:ext uri="{FF2B5EF4-FFF2-40B4-BE49-F238E27FC236}">
                <a16:creationId xmlns:a16="http://schemas.microsoft.com/office/drawing/2014/main" id="{1EDCAAD3-37D7-15C5-0D7C-C75B6F8864EF}"/>
              </a:ext>
            </a:extLst>
          </p:cNvPr>
          <p:cNvSpPr>
            <a:spLocks noGrp="1"/>
          </p:cNvSpPr>
          <p:nvPr>
            <p:ph type="body" sz="half" idx="11" hasCustomPrompt="1"/>
          </p:nvPr>
        </p:nvSpPr>
        <p:spPr>
          <a:xfrm>
            <a:off x="3903072" y="6412003"/>
            <a:ext cx="3446053" cy="319707"/>
          </a:xfrm>
        </p:spPr>
        <p:txBody>
          <a:bodyPr anchor="ctr"/>
          <a:lstStyle>
            <a:lvl1pPr marL="0" indent="0" algn="r">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612655034"/>
      </p:ext>
    </p:extLst>
  </p:cSld>
  <p:clrMapOvr>
    <a:masterClrMapping/>
  </p:clrMapOvr>
  <p:extLst>
    <p:ext uri="{DCECCB84-F9BA-43D5-87BE-67443E8EF086}">
      <p15:sldGuideLst xmlns:p15="http://schemas.microsoft.com/office/powerpoint/2012/main">
        <p15:guide id="1" pos="4632">
          <p15:clr>
            <a:srgbClr val="FBAE40"/>
          </p15:clr>
        </p15:guide>
        <p15:guide id="2" pos="521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3 Content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4B636B-1D65-E64C-93AC-90815C6D1FE4}"/>
              </a:ext>
            </a:extLst>
          </p:cNvPr>
          <p:cNvGraphicFramePr>
            <a:graphicFrameLocks noChangeAspect="1"/>
          </p:cNvGraphicFramePr>
          <p:nvPr>
            <p:custDataLst>
              <p:tags r:id="rId1"/>
            </p:custDataLst>
            <p:extLst>
              <p:ext uri="{D42A27DB-BD31-4B8C-83A1-F6EECF244321}">
                <p14:modId xmlns:p14="http://schemas.microsoft.com/office/powerpoint/2010/main" val="411477192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EB4B636B-1D65-E64C-93AC-90815C6D1FE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1" name="Picture Placeholder 3">
            <a:extLst>
              <a:ext uri="{FF2B5EF4-FFF2-40B4-BE49-F238E27FC236}">
                <a16:creationId xmlns:a16="http://schemas.microsoft.com/office/drawing/2014/main" id="{AB99281C-506E-7D4F-8F77-F36D56BCCD1A}"/>
              </a:ext>
            </a:extLst>
          </p:cNvPr>
          <p:cNvSpPr>
            <a:spLocks noGrp="1"/>
          </p:cNvSpPr>
          <p:nvPr>
            <p:ph type="pic" sz="quarter" idx="12"/>
          </p:nvPr>
        </p:nvSpPr>
        <p:spPr>
          <a:xfrm>
            <a:off x="7819026" y="0"/>
            <a:ext cx="4372975" cy="6858000"/>
          </a:xfrm>
          <a:solidFill>
            <a:schemeClr val="bg1">
              <a:lumMod val="95000"/>
            </a:schemeClr>
          </a:solidFill>
        </p:spPr>
        <p:txBody>
          <a:bodyPr/>
          <a:lstStyle>
            <a:lvl1pPr>
              <a:defRPr sz="1200">
                <a:solidFill>
                  <a:srgbClr val="F2342F"/>
                </a:solidFill>
              </a:defRPr>
            </a:lvl1pPr>
          </a:lstStyle>
          <a:p>
            <a:r>
              <a:rPr lang="en-US"/>
              <a:t>Click icon to add picture</a:t>
            </a:r>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1" y="406049"/>
            <a:ext cx="6891927" cy="1051876"/>
          </a:xfrm>
        </p:spPr>
        <p:txBody>
          <a:bodyPr vert="horz"/>
          <a:lstStyle/>
          <a:p>
            <a:r>
              <a:rPr lang="en-US" dirty="0"/>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199" y="1737360"/>
            <a:ext cx="6891927" cy="4425696"/>
          </a:xfrm>
        </p:spPr>
        <p:txBody>
          <a:bodyPr/>
          <a:lstStyle/>
          <a:p>
            <a:pPr lvl="0"/>
            <a:r>
              <a:rPr lang="en-US" dirty="0"/>
              <a:t>Click to edit master text styles</a:t>
            </a:r>
          </a:p>
          <a:p>
            <a:pPr lvl="1"/>
            <a:r>
              <a:rPr lang="en-US" dirty="0"/>
              <a:t>Second level</a:t>
            </a:r>
          </a:p>
          <a:p>
            <a:pPr lvl="2"/>
            <a:r>
              <a:rPr lang="en-US" dirty="0"/>
              <a:t>Third level</a:t>
            </a:r>
          </a:p>
        </p:txBody>
      </p:sp>
      <p:sp>
        <p:nvSpPr>
          <p:cNvPr id="12" name="TextBox 11">
            <a:extLst>
              <a:ext uri="{FF2B5EF4-FFF2-40B4-BE49-F238E27FC236}">
                <a16:creationId xmlns:a16="http://schemas.microsoft.com/office/drawing/2014/main" id="{40FF05B3-2847-CE49-BC47-C795ADE43D73}"/>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sp>
        <p:nvSpPr>
          <p:cNvPr id="3" name="Text Placeholder 3">
            <a:extLst>
              <a:ext uri="{FF2B5EF4-FFF2-40B4-BE49-F238E27FC236}">
                <a16:creationId xmlns:a16="http://schemas.microsoft.com/office/drawing/2014/main" id="{440EE634-CB9C-3BD6-D049-86F1D83F09B7}"/>
              </a:ext>
            </a:extLst>
          </p:cNvPr>
          <p:cNvSpPr>
            <a:spLocks noGrp="1"/>
          </p:cNvSpPr>
          <p:nvPr>
            <p:ph type="body" sz="half" idx="11" hasCustomPrompt="1"/>
          </p:nvPr>
        </p:nvSpPr>
        <p:spPr>
          <a:xfrm>
            <a:off x="3903072" y="6412003"/>
            <a:ext cx="3446053" cy="319707"/>
          </a:xfrm>
        </p:spPr>
        <p:txBody>
          <a:bodyPr anchor="ctr"/>
          <a:lstStyle>
            <a:lvl1pPr marL="0" indent="0" algn="r">
              <a:buNone/>
              <a:defRPr sz="10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footnote/source</a:t>
            </a:r>
          </a:p>
        </p:txBody>
      </p:sp>
    </p:spTree>
    <p:extLst>
      <p:ext uri="{BB962C8B-B14F-4D97-AF65-F5344CB8AC3E}">
        <p14:creationId xmlns:p14="http://schemas.microsoft.com/office/powerpoint/2010/main" val="2358697939"/>
      </p:ext>
    </p:extLst>
  </p:cSld>
  <p:clrMapOvr>
    <a:masterClrMapping/>
  </p:clrMapOvr>
  <p:extLst>
    <p:ext uri="{DCECCB84-F9BA-43D5-87BE-67443E8EF086}">
      <p15:sldGuideLst xmlns:p15="http://schemas.microsoft.com/office/powerpoint/2012/main">
        <p15:guide id="1" pos="46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Divider Periwinkle">
    <p:bg>
      <p:bgPr>
        <a:solidFill>
          <a:srgbClr val="7583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156022153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60376" y="1656152"/>
            <a:ext cx="10887075" cy="1598600"/>
          </a:xfrm>
        </p:spPr>
        <p:txBody>
          <a:bodyPr vert="horz" anchor="t"/>
          <a:lstStyle>
            <a:lvl1pPr>
              <a:defRPr sz="4800">
                <a:solidFill>
                  <a:schemeClr val="bg1"/>
                </a:solidFill>
              </a:defRPr>
            </a:lvl1pPr>
          </a:lstStyle>
          <a:p>
            <a:r>
              <a:rPr lang="en-US" dirty="0"/>
              <a:t>Click to add divider headline</a:t>
            </a:r>
          </a:p>
        </p:txBody>
      </p:sp>
      <p:sp>
        <p:nvSpPr>
          <p:cNvPr id="3" name="Text Placeholder 2">
            <a:extLst>
              <a:ext uri="{FF2B5EF4-FFF2-40B4-BE49-F238E27FC236}">
                <a16:creationId xmlns:a16="http://schemas.microsoft.com/office/drawing/2014/main" id="{E8953FF1-1152-4B43-A1F3-3462785951B5}"/>
              </a:ext>
            </a:extLst>
          </p:cNvPr>
          <p:cNvSpPr>
            <a:spLocks noGrp="1"/>
          </p:cNvSpPr>
          <p:nvPr>
            <p:ph type="body" idx="1" hasCustomPrompt="1"/>
          </p:nvPr>
        </p:nvSpPr>
        <p:spPr>
          <a:xfrm>
            <a:off x="460376" y="3906984"/>
            <a:ext cx="10887075" cy="895216"/>
          </a:xfrm>
        </p:spPr>
        <p:txBody>
          <a:bodyPr/>
          <a:lstStyle>
            <a:lvl1pPr marL="0" indent="0">
              <a:buNone/>
              <a:defRPr sz="28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add additional text here, if needed</a:t>
            </a:r>
          </a:p>
        </p:txBody>
      </p:sp>
      <p:sp>
        <p:nvSpPr>
          <p:cNvPr id="16" name="TextBox 15">
            <a:extLst>
              <a:ext uri="{FF2B5EF4-FFF2-40B4-BE49-F238E27FC236}">
                <a16:creationId xmlns:a16="http://schemas.microsoft.com/office/drawing/2014/main" id="{89253486-34F9-904F-91F8-B54BCF88F7FF}"/>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pic>
        <p:nvPicPr>
          <p:cNvPr id="9" name="Picture 8" descr="A white text on a black background&#10;&#10;Description automatically generated">
            <a:extLst>
              <a:ext uri="{FF2B5EF4-FFF2-40B4-BE49-F238E27FC236}">
                <a16:creationId xmlns:a16="http://schemas.microsoft.com/office/drawing/2014/main" id="{2C5CCDCD-40FE-180A-1B2A-4231D6978C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7" y="6264071"/>
            <a:ext cx="1935600" cy="362621"/>
          </a:xfrm>
          <a:prstGeom prst="rect">
            <a:avLst/>
          </a:prstGeom>
        </p:spPr>
      </p:pic>
    </p:spTree>
    <p:extLst>
      <p:ext uri="{BB962C8B-B14F-4D97-AF65-F5344CB8AC3E}">
        <p14:creationId xmlns:p14="http://schemas.microsoft.com/office/powerpoint/2010/main" val="3864353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Divider Indigo">
    <p:bg>
      <p:bgPr>
        <a:solidFill>
          <a:srgbClr val="381360"/>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156022153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60376" y="1656152"/>
            <a:ext cx="10887075" cy="1598600"/>
          </a:xfrm>
        </p:spPr>
        <p:txBody>
          <a:bodyPr vert="horz" anchor="t"/>
          <a:lstStyle>
            <a:lvl1pPr>
              <a:defRPr sz="4800">
                <a:solidFill>
                  <a:schemeClr val="bg1"/>
                </a:solidFill>
              </a:defRPr>
            </a:lvl1pPr>
          </a:lstStyle>
          <a:p>
            <a:r>
              <a:rPr lang="en-US" dirty="0"/>
              <a:t>Click to add divider headline</a:t>
            </a:r>
          </a:p>
        </p:txBody>
      </p:sp>
      <p:sp>
        <p:nvSpPr>
          <p:cNvPr id="3" name="Text Placeholder 2">
            <a:extLst>
              <a:ext uri="{FF2B5EF4-FFF2-40B4-BE49-F238E27FC236}">
                <a16:creationId xmlns:a16="http://schemas.microsoft.com/office/drawing/2014/main" id="{E8953FF1-1152-4B43-A1F3-3462785951B5}"/>
              </a:ext>
            </a:extLst>
          </p:cNvPr>
          <p:cNvSpPr>
            <a:spLocks noGrp="1"/>
          </p:cNvSpPr>
          <p:nvPr>
            <p:ph type="body" idx="1" hasCustomPrompt="1"/>
          </p:nvPr>
        </p:nvSpPr>
        <p:spPr>
          <a:xfrm>
            <a:off x="460376" y="3906984"/>
            <a:ext cx="10887075" cy="895216"/>
          </a:xfrm>
        </p:spPr>
        <p:txBody>
          <a:bodyPr/>
          <a:lstStyle>
            <a:lvl1pPr marL="0" indent="0">
              <a:buNone/>
              <a:defRPr sz="28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add additional text here, if needed</a:t>
            </a:r>
          </a:p>
        </p:txBody>
      </p:sp>
      <p:sp>
        <p:nvSpPr>
          <p:cNvPr id="16" name="TextBox 15">
            <a:extLst>
              <a:ext uri="{FF2B5EF4-FFF2-40B4-BE49-F238E27FC236}">
                <a16:creationId xmlns:a16="http://schemas.microsoft.com/office/drawing/2014/main" id="{89253486-34F9-904F-91F8-B54BCF88F7FF}"/>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pic>
        <p:nvPicPr>
          <p:cNvPr id="6" name="Picture 5" descr="A white text on a black background&#10;&#10;Description automatically generated">
            <a:extLst>
              <a:ext uri="{FF2B5EF4-FFF2-40B4-BE49-F238E27FC236}">
                <a16:creationId xmlns:a16="http://schemas.microsoft.com/office/drawing/2014/main" id="{4262099E-C7C1-C469-1993-10E69B4C26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7" y="6264071"/>
            <a:ext cx="1935600" cy="362621"/>
          </a:xfrm>
          <a:prstGeom prst="rect">
            <a:avLst/>
          </a:prstGeom>
        </p:spPr>
      </p:pic>
    </p:spTree>
    <p:extLst>
      <p:ext uri="{BB962C8B-B14F-4D97-AF65-F5344CB8AC3E}">
        <p14:creationId xmlns:p14="http://schemas.microsoft.com/office/powerpoint/2010/main" val="19841286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ivider Manilla">
    <p:bg>
      <p:bgPr>
        <a:solidFill>
          <a:srgbClr val="FFF8DE"/>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150954092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60376" y="1656152"/>
            <a:ext cx="10887075" cy="1598600"/>
          </a:xfrm>
        </p:spPr>
        <p:txBody>
          <a:bodyPr vert="horz" anchor="t"/>
          <a:lstStyle>
            <a:lvl1pPr>
              <a:defRPr sz="4800">
                <a:solidFill>
                  <a:schemeClr val="tx2"/>
                </a:solidFill>
              </a:defRPr>
            </a:lvl1pPr>
          </a:lstStyle>
          <a:p>
            <a:r>
              <a:rPr lang="en-US" dirty="0"/>
              <a:t>Click to add divider headline</a:t>
            </a:r>
          </a:p>
        </p:txBody>
      </p:sp>
      <p:sp>
        <p:nvSpPr>
          <p:cNvPr id="3" name="Text Placeholder 2">
            <a:extLst>
              <a:ext uri="{FF2B5EF4-FFF2-40B4-BE49-F238E27FC236}">
                <a16:creationId xmlns:a16="http://schemas.microsoft.com/office/drawing/2014/main" id="{E8953FF1-1152-4B43-A1F3-3462785951B5}"/>
              </a:ext>
            </a:extLst>
          </p:cNvPr>
          <p:cNvSpPr>
            <a:spLocks noGrp="1"/>
          </p:cNvSpPr>
          <p:nvPr>
            <p:ph type="body" idx="1" hasCustomPrompt="1"/>
          </p:nvPr>
        </p:nvSpPr>
        <p:spPr>
          <a:xfrm>
            <a:off x="460376" y="3906984"/>
            <a:ext cx="10887075" cy="895216"/>
          </a:xfrm>
        </p:spPr>
        <p:txBody>
          <a:bodyPr/>
          <a:lstStyle>
            <a:lvl1pPr marL="0" indent="0">
              <a:buNone/>
              <a:defRPr sz="2800">
                <a:solidFill>
                  <a:schemeClr val="tx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add additional text here, if needed</a:t>
            </a:r>
          </a:p>
        </p:txBody>
      </p:sp>
      <p:sp>
        <p:nvSpPr>
          <p:cNvPr id="4" name="Rectangle 3">
            <a:extLst>
              <a:ext uri="{FF2B5EF4-FFF2-40B4-BE49-F238E27FC236}">
                <a16:creationId xmlns:a16="http://schemas.microsoft.com/office/drawing/2014/main" id="{CF488AD3-411D-25B7-687C-2BFD6817D23D}"/>
              </a:ext>
            </a:extLst>
          </p:cNvPr>
          <p:cNvSpPr/>
          <p:nvPr/>
        </p:nvSpPr>
        <p:spPr>
          <a:xfrm>
            <a:off x="0" y="5880848"/>
            <a:ext cx="2981405" cy="977153"/>
          </a:xfrm>
          <a:prstGeom prst="rect">
            <a:avLst/>
          </a:prstGeom>
          <a:solidFill>
            <a:srgbClr val="FFF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9" name="Picture 8" descr="A purple letters on a black background&#10;&#10;Description automatically generated">
            <a:extLst>
              <a:ext uri="{FF2B5EF4-FFF2-40B4-BE49-F238E27FC236}">
                <a16:creationId xmlns:a16="http://schemas.microsoft.com/office/drawing/2014/main" id="{6A869EB9-F513-22CF-AB26-8FAB517506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6264071"/>
            <a:ext cx="1940024" cy="363451"/>
          </a:xfrm>
          <a:prstGeom prst="rect">
            <a:avLst/>
          </a:prstGeom>
        </p:spPr>
      </p:pic>
    </p:spTree>
    <p:extLst>
      <p:ext uri="{BB962C8B-B14F-4D97-AF65-F5344CB8AC3E}">
        <p14:creationId xmlns:p14="http://schemas.microsoft.com/office/powerpoint/2010/main" val="1270491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tatement Periwinkle">
    <p:bg>
      <p:bgPr>
        <a:solidFill>
          <a:srgbClr val="7583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193634847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57199" y="1622882"/>
            <a:ext cx="8229600" cy="2744497"/>
          </a:xfrm>
        </p:spPr>
        <p:txBody>
          <a:bodyPr vert="horz" anchor="t"/>
          <a:lstStyle>
            <a:lvl1pPr>
              <a:lnSpc>
                <a:spcPct val="100000"/>
              </a:lnSpc>
              <a:defRPr sz="3600">
                <a:solidFill>
                  <a:schemeClr val="bg1"/>
                </a:solidFill>
              </a:defRPr>
            </a:lvl1pPr>
          </a:lstStyle>
          <a:p>
            <a:r>
              <a:rPr lang="en-US" dirty="0"/>
              <a:t>Click to add statement</a:t>
            </a:r>
          </a:p>
        </p:txBody>
      </p:sp>
      <p:sp>
        <p:nvSpPr>
          <p:cNvPr id="16" name="TextBox 15">
            <a:extLst>
              <a:ext uri="{FF2B5EF4-FFF2-40B4-BE49-F238E27FC236}">
                <a16:creationId xmlns:a16="http://schemas.microsoft.com/office/drawing/2014/main" id="{89253486-34F9-904F-91F8-B54BCF88F7FF}"/>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pic>
        <p:nvPicPr>
          <p:cNvPr id="5" name="Picture 4" descr="A white text on a black background&#10;&#10;Description automatically generated">
            <a:extLst>
              <a:ext uri="{FF2B5EF4-FFF2-40B4-BE49-F238E27FC236}">
                <a16:creationId xmlns:a16="http://schemas.microsoft.com/office/drawing/2014/main" id="{A0F8B400-31D3-38ED-626B-56543106A5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7" y="6264071"/>
            <a:ext cx="1935600" cy="362621"/>
          </a:xfrm>
          <a:prstGeom prst="rect">
            <a:avLst/>
          </a:prstGeom>
        </p:spPr>
      </p:pic>
    </p:spTree>
    <p:extLst>
      <p:ext uri="{BB962C8B-B14F-4D97-AF65-F5344CB8AC3E}">
        <p14:creationId xmlns:p14="http://schemas.microsoft.com/office/powerpoint/2010/main" val="683978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tatement Indigo">
    <p:bg>
      <p:bgPr>
        <a:solidFill>
          <a:srgbClr val="381360"/>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2059951559"/>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57199" y="1622882"/>
            <a:ext cx="8229600" cy="2744497"/>
          </a:xfrm>
        </p:spPr>
        <p:txBody>
          <a:bodyPr vert="horz" anchor="t"/>
          <a:lstStyle>
            <a:lvl1pPr>
              <a:lnSpc>
                <a:spcPct val="100000"/>
              </a:lnSpc>
              <a:defRPr sz="3600">
                <a:solidFill>
                  <a:schemeClr val="bg1"/>
                </a:solidFill>
              </a:defRPr>
            </a:lvl1pPr>
          </a:lstStyle>
          <a:p>
            <a:r>
              <a:rPr lang="en-US" dirty="0"/>
              <a:t>Click to add statement</a:t>
            </a:r>
          </a:p>
        </p:txBody>
      </p:sp>
      <p:sp>
        <p:nvSpPr>
          <p:cNvPr id="16" name="TextBox 15">
            <a:extLst>
              <a:ext uri="{FF2B5EF4-FFF2-40B4-BE49-F238E27FC236}">
                <a16:creationId xmlns:a16="http://schemas.microsoft.com/office/drawing/2014/main" id="{89253486-34F9-904F-91F8-B54BCF88F7FF}"/>
              </a:ext>
            </a:extLst>
          </p:cNvPr>
          <p:cNvSpPr txBox="1"/>
          <p:nvPr/>
        </p:nvSpPr>
        <p:spPr>
          <a:xfrm>
            <a:off x="11547247" y="6479524"/>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bg1"/>
                </a:solidFill>
              </a:rPr>
              <a:pPr algn="r"/>
              <a:t>‹#›</a:t>
            </a:fld>
            <a:endParaRPr lang="en-US" sz="1200" dirty="0">
              <a:solidFill>
                <a:schemeClr val="bg1"/>
              </a:solidFill>
            </a:endParaRPr>
          </a:p>
        </p:txBody>
      </p:sp>
      <p:pic>
        <p:nvPicPr>
          <p:cNvPr id="6" name="Picture 5" descr="A white text on a black background&#10;&#10;Description automatically generated">
            <a:extLst>
              <a:ext uri="{FF2B5EF4-FFF2-40B4-BE49-F238E27FC236}">
                <a16:creationId xmlns:a16="http://schemas.microsoft.com/office/drawing/2014/main" id="{745C1484-422A-2CAC-54A0-795D082EE8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5387" y="6264071"/>
            <a:ext cx="1935600" cy="362621"/>
          </a:xfrm>
          <a:prstGeom prst="rect">
            <a:avLst/>
          </a:prstGeom>
        </p:spPr>
      </p:pic>
    </p:spTree>
    <p:extLst>
      <p:ext uri="{BB962C8B-B14F-4D97-AF65-F5344CB8AC3E}">
        <p14:creationId xmlns:p14="http://schemas.microsoft.com/office/powerpoint/2010/main" val="8708112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tatement Manilla">
    <p:bg>
      <p:bgPr>
        <a:solidFill>
          <a:srgbClr val="FFF8DE"/>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2404679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457199" y="1622882"/>
            <a:ext cx="8229600" cy="2744497"/>
          </a:xfrm>
        </p:spPr>
        <p:txBody>
          <a:bodyPr vert="horz" anchor="t"/>
          <a:lstStyle>
            <a:lvl1pPr>
              <a:lnSpc>
                <a:spcPct val="100000"/>
              </a:lnSpc>
              <a:defRPr sz="3600">
                <a:solidFill>
                  <a:schemeClr val="tx1"/>
                </a:solidFill>
              </a:defRPr>
            </a:lvl1pPr>
          </a:lstStyle>
          <a:p>
            <a:r>
              <a:rPr lang="en-US" dirty="0"/>
              <a:t>Click to add statement</a:t>
            </a:r>
          </a:p>
        </p:txBody>
      </p:sp>
      <p:sp>
        <p:nvSpPr>
          <p:cNvPr id="3" name="Rectangle 2">
            <a:extLst>
              <a:ext uri="{FF2B5EF4-FFF2-40B4-BE49-F238E27FC236}">
                <a16:creationId xmlns:a16="http://schemas.microsoft.com/office/drawing/2014/main" id="{075CA74E-43DE-153D-8B63-42EB172E9861}"/>
              </a:ext>
            </a:extLst>
          </p:cNvPr>
          <p:cNvSpPr/>
          <p:nvPr/>
        </p:nvSpPr>
        <p:spPr>
          <a:xfrm>
            <a:off x="0" y="5880848"/>
            <a:ext cx="2981405" cy="977153"/>
          </a:xfrm>
          <a:prstGeom prst="rect">
            <a:avLst/>
          </a:prstGeom>
          <a:solidFill>
            <a:srgbClr val="FFF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5" name="Picture 4" descr="A purple letters on a black background&#10;&#10;Description automatically generated">
            <a:extLst>
              <a:ext uri="{FF2B5EF4-FFF2-40B4-BE49-F238E27FC236}">
                <a16:creationId xmlns:a16="http://schemas.microsoft.com/office/drawing/2014/main" id="{84F5218E-0093-750E-9647-A4EE722FA4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6264071"/>
            <a:ext cx="1940024" cy="363451"/>
          </a:xfrm>
          <a:prstGeom prst="rect">
            <a:avLst/>
          </a:prstGeom>
        </p:spPr>
      </p:pic>
    </p:spTree>
    <p:extLst>
      <p:ext uri="{BB962C8B-B14F-4D97-AF65-F5344CB8AC3E}">
        <p14:creationId xmlns:p14="http://schemas.microsoft.com/office/powerpoint/2010/main" val="2120869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Manilla">
    <p:bg>
      <p:bgPr>
        <a:solidFill>
          <a:srgbClr val="FFF8DE"/>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226041875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indent="0" algn="l">
              <a:buNone/>
              <a:defRPr sz="2000" cap="all" baseline="0">
                <a:solidFill>
                  <a:srgbClr val="7583FF"/>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F9E9205E-C891-0F42-81D4-5F30F27CB9D7}"/>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descr="A purple letters on a black background&#10;&#10;Description automatically generated">
            <a:extLst>
              <a:ext uri="{FF2B5EF4-FFF2-40B4-BE49-F238E27FC236}">
                <a16:creationId xmlns:a16="http://schemas.microsoft.com/office/drawing/2014/main" id="{A374167B-C082-48CE-75F5-A8F51B44BC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5785213"/>
            <a:ext cx="2622317" cy="491273"/>
          </a:xfrm>
          <a:prstGeom prst="rect">
            <a:avLst/>
          </a:prstGeom>
        </p:spPr>
      </p:pic>
    </p:spTree>
    <p:extLst>
      <p:ext uri="{BB962C8B-B14F-4D97-AF65-F5344CB8AC3E}">
        <p14:creationId xmlns:p14="http://schemas.microsoft.com/office/powerpoint/2010/main" val="16767988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Image">
    <p:bg>
      <p:bgPr>
        <a:solidFill>
          <a:srgbClr val="FFF8DE"/>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FD2B49-CDF3-CE40-8083-A9B229648810}"/>
              </a:ext>
            </a:extLst>
          </p:cNvPr>
          <p:cNvGraphicFramePr>
            <a:graphicFrameLocks noChangeAspect="1"/>
          </p:cNvGraphicFramePr>
          <p:nvPr>
            <p:custDataLst>
              <p:tags r:id="rId1"/>
            </p:custDataLst>
            <p:extLst>
              <p:ext uri="{D42A27DB-BD31-4B8C-83A1-F6EECF244321}">
                <p14:modId xmlns:p14="http://schemas.microsoft.com/office/powerpoint/2010/main" val="152448570"/>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5FD2B49-CDF3-CE40-8083-A9B229648810}"/>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CF7F06A1-8CFD-224B-9F63-601E40018291}"/>
              </a:ext>
            </a:extLst>
          </p:cNvPr>
          <p:cNvSpPr>
            <a:spLocks noGrp="1"/>
          </p:cNvSpPr>
          <p:nvPr>
            <p:ph type="pic" sz="quarter" idx="10"/>
          </p:nvPr>
        </p:nvSpPr>
        <p:spPr>
          <a:xfrm>
            <a:off x="0" y="0"/>
            <a:ext cx="12192000" cy="6858000"/>
          </a:xfrm>
          <a:solidFill>
            <a:srgbClr val="FFF8DE"/>
          </a:solidFill>
        </p:spPr>
        <p:txBody>
          <a:bodyPr/>
          <a:lstStyle>
            <a:lvl1pPr>
              <a:defRPr sz="1200">
                <a:solidFill>
                  <a:srgbClr val="F2342F"/>
                </a:solidFill>
              </a:defRPr>
            </a:lvl1pPr>
          </a:lstStyle>
          <a:p>
            <a:r>
              <a:rPr lang="en-US"/>
              <a:t>Click icon to add picture</a:t>
            </a:r>
          </a:p>
        </p:txBody>
      </p:sp>
      <p:sp>
        <p:nvSpPr>
          <p:cNvPr id="2" name="Title 1">
            <a:extLst>
              <a:ext uri="{FF2B5EF4-FFF2-40B4-BE49-F238E27FC236}">
                <a16:creationId xmlns:a16="http://schemas.microsoft.com/office/drawing/2014/main" id="{3EB153C8-5736-488E-8127-1CFC68B02147}"/>
              </a:ext>
            </a:extLst>
          </p:cNvPr>
          <p:cNvSpPr>
            <a:spLocks noGrp="1"/>
          </p:cNvSpPr>
          <p:nvPr>
            <p:ph type="title" hasCustomPrompt="1"/>
          </p:nvPr>
        </p:nvSpPr>
        <p:spPr>
          <a:xfrm>
            <a:off x="6096000" y="403226"/>
            <a:ext cx="5251451" cy="1330325"/>
          </a:xfrm>
        </p:spPr>
        <p:txBody>
          <a:bodyPr vert="horz" anchor="t"/>
          <a:lstStyle>
            <a:lvl1pPr marL="228594" indent="-228594">
              <a:tabLst/>
              <a:defRPr sz="3600">
                <a:solidFill>
                  <a:schemeClr val="tx1"/>
                </a:solidFill>
              </a:defRPr>
            </a:lvl1pPr>
          </a:lstStyle>
          <a:p>
            <a:r>
              <a:rPr lang="en-US" dirty="0"/>
              <a:t>“ Quote goes here.”</a:t>
            </a:r>
          </a:p>
        </p:txBody>
      </p:sp>
      <p:sp>
        <p:nvSpPr>
          <p:cNvPr id="3" name="Text Placeholder 2">
            <a:extLst>
              <a:ext uri="{FF2B5EF4-FFF2-40B4-BE49-F238E27FC236}">
                <a16:creationId xmlns:a16="http://schemas.microsoft.com/office/drawing/2014/main" id="{E8953FF1-1152-4B43-A1F3-3462785951B5}"/>
              </a:ext>
            </a:extLst>
          </p:cNvPr>
          <p:cNvSpPr>
            <a:spLocks noGrp="1"/>
          </p:cNvSpPr>
          <p:nvPr>
            <p:ph type="body" idx="1" hasCustomPrompt="1"/>
          </p:nvPr>
        </p:nvSpPr>
        <p:spPr>
          <a:xfrm>
            <a:off x="6311279" y="1733551"/>
            <a:ext cx="5036172" cy="587619"/>
          </a:xfrm>
        </p:spPr>
        <p:txBody>
          <a:bodyPr/>
          <a:lstStyle>
            <a:lvl1pPr marL="0" indent="0">
              <a:spcBef>
                <a:spcPts val="0"/>
              </a:spcBef>
              <a:buNone/>
              <a:defRPr sz="1600">
                <a:solidFill>
                  <a:srgbClr val="7583FF"/>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Quote attribution</a:t>
            </a:r>
          </a:p>
        </p:txBody>
      </p:sp>
    </p:spTree>
    <p:extLst>
      <p:ext uri="{BB962C8B-B14F-4D97-AF65-F5344CB8AC3E}">
        <p14:creationId xmlns:p14="http://schemas.microsoft.com/office/powerpoint/2010/main" val="25270904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7736E0-9EF6-5942-9AF6-A7493DBAA804}"/>
              </a:ext>
            </a:extLst>
          </p:cNvPr>
          <p:cNvGraphicFramePr>
            <a:graphicFrameLocks noChangeAspect="1"/>
          </p:cNvGraphicFramePr>
          <p:nvPr>
            <p:custDataLst>
              <p:tags r:id="rId1"/>
            </p:custDataLst>
            <p:extLst>
              <p:ext uri="{D42A27DB-BD31-4B8C-83A1-F6EECF244321}">
                <p14:modId xmlns:p14="http://schemas.microsoft.com/office/powerpoint/2010/main" val="1340177441"/>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37736E0-9EF6-5942-9AF6-A7493DBAA804}"/>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62DACDF-7C84-9F44-807B-03651EA7D45E}"/>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descr="A purple letters on a black background&#10;&#10;Description automatically generated">
            <a:extLst>
              <a:ext uri="{FF2B5EF4-FFF2-40B4-BE49-F238E27FC236}">
                <a16:creationId xmlns:a16="http://schemas.microsoft.com/office/drawing/2014/main" id="{BA39D0AA-CB32-5A08-24F6-BA30A0668A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61255" y="2443063"/>
            <a:ext cx="7469487" cy="1399356"/>
          </a:xfrm>
          <a:prstGeom prst="rect">
            <a:avLst/>
          </a:prstGeom>
        </p:spPr>
      </p:pic>
    </p:spTree>
    <p:extLst>
      <p:ext uri="{BB962C8B-B14F-4D97-AF65-F5344CB8AC3E}">
        <p14:creationId xmlns:p14="http://schemas.microsoft.com/office/powerpoint/2010/main" val="14324856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GPSST001">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5"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757232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GPSST006">
    <p:spTree>
      <p:nvGrpSpPr>
        <p:cNvPr id="1" name=""/>
        <p:cNvGrpSpPr/>
        <p:nvPr/>
      </p:nvGrpSpPr>
      <p:grpSpPr>
        <a:xfrm>
          <a:off x="0" y="0"/>
          <a:ext cx="0" cy="0"/>
          <a:chOff x="0" y="0"/>
          <a:chExt cx="0" cy="0"/>
        </a:xfrm>
      </p:grpSpPr>
      <p:sp>
        <p:nvSpPr>
          <p:cNvPr id="27" name="Picture Placeholder 7"/>
          <p:cNvSpPr>
            <a:spLocks noGrp="1"/>
          </p:cNvSpPr>
          <p:nvPr>
            <p:ph type="pic" sz="quarter" idx="10" hasCustomPrompt="1"/>
          </p:nvPr>
        </p:nvSpPr>
        <p:spPr>
          <a:xfrm>
            <a:off x="6134705" y="0"/>
            <a:ext cx="6057295" cy="6858000"/>
          </a:xfrm>
          <a:prstGeom prst="rect">
            <a:avLst/>
          </a:prstGeom>
          <a:solidFill>
            <a:schemeClr val="bg1">
              <a:lumMod val="95000"/>
            </a:schemeClr>
          </a:solidFill>
          <a:ln w="19050">
            <a:noFill/>
          </a:ln>
        </p:spPr>
        <p:txBody>
          <a:bodyPr lIns="0" tIns="91440" rIns="0" bIns="2194560" anchor="b"/>
          <a:lstStyle>
            <a:lvl1pPr algn="ctr" rtl="0">
              <a:buNone/>
              <a:defRPr sz="1867">
                <a:solidFill>
                  <a:schemeClr val="tx1">
                    <a:lumMod val="75000"/>
                    <a:lumOff val="25000"/>
                  </a:schemeClr>
                </a:solidFill>
              </a:defRPr>
            </a:lvl1pPr>
          </a:lstStyle>
          <a:p>
            <a:r>
              <a:rPr lang="en-US"/>
              <a:t>Image Holder</a:t>
            </a:r>
          </a:p>
        </p:txBody>
      </p:sp>
      <p:sp>
        <p:nvSpPr>
          <p:cNvPr id="6"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7"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40888392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GPSST0040">
    <p:spTree>
      <p:nvGrpSpPr>
        <p:cNvPr id="1" name=""/>
        <p:cNvGrpSpPr/>
        <p:nvPr/>
      </p:nvGrpSpPr>
      <p:grpSpPr>
        <a:xfrm>
          <a:off x="0" y="0"/>
          <a:ext cx="0" cy="0"/>
          <a:chOff x="0" y="0"/>
          <a:chExt cx="0" cy="0"/>
        </a:xfrm>
      </p:grpSpPr>
      <p:sp>
        <p:nvSpPr>
          <p:cNvPr id="9" name="Picture Placeholder 7"/>
          <p:cNvSpPr>
            <a:spLocks noGrp="1"/>
          </p:cNvSpPr>
          <p:nvPr>
            <p:ph type="pic" sz="quarter" idx="10" hasCustomPrompt="1"/>
          </p:nvPr>
        </p:nvSpPr>
        <p:spPr>
          <a:xfrm>
            <a:off x="6587476" y="2796465"/>
            <a:ext cx="1868904" cy="1868904"/>
          </a:xfrm>
          <a:prstGeom prst="ellipse">
            <a:avLst/>
          </a:prstGeom>
          <a:solidFill>
            <a:schemeClr val="tx2">
              <a:lumMod val="10000"/>
              <a:lumOff val="90000"/>
            </a:schemeClr>
          </a:solidFill>
          <a:ln w="19050">
            <a:noFill/>
          </a:ln>
          <a:effectLst>
            <a:innerShdw blurRad="63500" dist="50800" dir="16200000">
              <a:prstClr val="black">
                <a:alpha val="50000"/>
              </a:prstClr>
            </a:innerShdw>
          </a:effectLst>
        </p:spPr>
        <p:txBody>
          <a:bodyPr lIns="0" tIns="91440" rIns="0" bIns="182880" anchor="b"/>
          <a:lstStyle>
            <a:lvl1pPr algn="ctr" rtl="0">
              <a:buNone/>
              <a:defRPr sz="1333">
                <a:solidFill>
                  <a:schemeClr val="tx1">
                    <a:lumMod val="75000"/>
                    <a:lumOff val="25000"/>
                  </a:schemeClr>
                </a:solidFill>
              </a:defRPr>
            </a:lvl1pPr>
          </a:lstStyle>
          <a:p>
            <a:r>
              <a:rPr lang="en-US"/>
              <a:t>Image Holder</a:t>
            </a:r>
          </a:p>
        </p:txBody>
      </p:sp>
      <p:sp>
        <p:nvSpPr>
          <p:cNvPr id="11" name="Picture Placeholder 7"/>
          <p:cNvSpPr>
            <a:spLocks noGrp="1"/>
          </p:cNvSpPr>
          <p:nvPr>
            <p:ph type="pic" sz="quarter" idx="13" hasCustomPrompt="1"/>
          </p:nvPr>
        </p:nvSpPr>
        <p:spPr>
          <a:xfrm>
            <a:off x="881515" y="2799348"/>
            <a:ext cx="1868904" cy="1868904"/>
          </a:xfrm>
          <a:prstGeom prst="ellipse">
            <a:avLst/>
          </a:prstGeom>
          <a:solidFill>
            <a:schemeClr val="tx2">
              <a:lumMod val="10000"/>
              <a:lumOff val="90000"/>
            </a:schemeClr>
          </a:solidFill>
          <a:ln w="19050">
            <a:noFill/>
          </a:ln>
          <a:effectLst>
            <a:innerShdw blurRad="63500" dist="50800" dir="16200000">
              <a:prstClr val="black">
                <a:alpha val="50000"/>
              </a:prstClr>
            </a:innerShdw>
          </a:effectLst>
        </p:spPr>
        <p:txBody>
          <a:bodyPr lIns="0" tIns="91440" rIns="0" bIns="182880" anchor="b"/>
          <a:lstStyle>
            <a:lvl1pPr algn="ctr" rtl="0">
              <a:buNone/>
              <a:defRPr sz="1333">
                <a:solidFill>
                  <a:schemeClr val="tx1">
                    <a:lumMod val="75000"/>
                    <a:lumOff val="25000"/>
                  </a:schemeClr>
                </a:solidFill>
              </a:defRPr>
            </a:lvl1pPr>
          </a:lstStyle>
          <a:p>
            <a:r>
              <a:rPr lang="en-US"/>
              <a:t>Image Holder</a:t>
            </a:r>
          </a:p>
        </p:txBody>
      </p:sp>
      <p:sp>
        <p:nvSpPr>
          <p:cNvPr id="8" name="Picture Placeholder 7"/>
          <p:cNvSpPr>
            <a:spLocks noGrp="1"/>
          </p:cNvSpPr>
          <p:nvPr>
            <p:ph type="pic" sz="quarter" idx="14" hasCustomPrompt="1"/>
          </p:nvPr>
        </p:nvSpPr>
        <p:spPr>
          <a:xfrm>
            <a:off x="3734120" y="2796465"/>
            <a:ext cx="1868904" cy="1868904"/>
          </a:xfrm>
          <a:prstGeom prst="ellipse">
            <a:avLst/>
          </a:prstGeom>
          <a:solidFill>
            <a:schemeClr val="tx2">
              <a:lumMod val="10000"/>
              <a:lumOff val="90000"/>
            </a:schemeClr>
          </a:solidFill>
          <a:ln w="19050">
            <a:noFill/>
          </a:ln>
          <a:effectLst>
            <a:innerShdw blurRad="63500" dist="50800" dir="16200000">
              <a:prstClr val="black">
                <a:alpha val="50000"/>
              </a:prstClr>
            </a:innerShdw>
          </a:effectLst>
        </p:spPr>
        <p:txBody>
          <a:bodyPr lIns="0" tIns="91440" rIns="0" bIns="182880" anchor="b"/>
          <a:lstStyle>
            <a:lvl1pPr algn="ctr" rtl="0">
              <a:buNone/>
              <a:defRPr sz="1333">
                <a:solidFill>
                  <a:schemeClr val="tx1">
                    <a:lumMod val="75000"/>
                    <a:lumOff val="25000"/>
                  </a:schemeClr>
                </a:solidFill>
              </a:defRPr>
            </a:lvl1pPr>
          </a:lstStyle>
          <a:p>
            <a:r>
              <a:rPr lang="en-US"/>
              <a:t>Image Holder</a:t>
            </a:r>
          </a:p>
        </p:txBody>
      </p:sp>
      <p:sp>
        <p:nvSpPr>
          <p:cNvPr id="13" name="Picture Placeholder 7"/>
          <p:cNvSpPr>
            <a:spLocks noGrp="1"/>
          </p:cNvSpPr>
          <p:nvPr>
            <p:ph type="pic" sz="quarter" idx="15" hasCustomPrompt="1"/>
          </p:nvPr>
        </p:nvSpPr>
        <p:spPr>
          <a:xfrm>
            <a:off x="9441581" y="2799348"/>
            <a:ext cx="1868904" cy="1868904"/>
          </a:xfrm>
          <a:prstGeom prst="ellipse">
            <a:avLst/>
          </a:prstGeom>
          <a:solidFill>
            <a:schemeClr val="tx2">
              <a:lumMod val="10000"/>
              <a:lumOff val="90000"/>
            </a:schemeClr>
          </a:solidFill>
          <a:ln w="19050">
            <a:noFill/>
          </a:ln>
          <a:effectLst>
            <a:innerShdw blurRad="63500" dist="50800" dir="16200000">
              <a:prstClr val="black">
                <a:alpha val="50000"/>
              </a:prstClr>
            </a:innerShdw>
          </a:effectLst>
        </p:spPr>
        <p:txBody>
          <a:bodyPr lIns="0" tIns="91440" rIns="0" bIns="182880" anchor="b"/>
          <a:lstStyle>
            <a:lvl1pPr algn="ctr" rtl="0">
              <a:buNone/>
              <a:defRPr sz="1333">
                <a:solidFill>
                  <a:schemeClr val="tx1">
                    <a:lumMod val="75000"/>
                    <a:lumOff val="25000"/>
                  </a:schemeClr>
                </a:solidFill>
              </a:defRPr>
            </a:lvl1pPr>
          </a:lstStyle>
          <a:p>
            <a:r>
              <a:rPr lang="en-US"/>
              <a:t>Image Holder</a:t>
            </a:r>
          </a:p>
        </p:txBody>
      </p:sp>
      <p:sp>
        <p:nvSpPr>
          <p:cNvPr id="10"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12"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4283424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GPSST0057">
    <p:spTree>
      <p:nvGrpSpPr>
        <p:cNvPr id="1" name=""/>
        <p:cNvGrpSpPr/>
        <p:nvPr/>
      </p:nvGrpSpPr>
      <p:grpSpPr>
        <a:xfrm>
          <a:off x="0" y="0"/>
          <a:ext cx="0" cy="0"/>
          <a:chOff x="0" y="0"/>
          <a:chExt cx="0" cy="0"/>
        </a:xfrm>
      </p:grpSpPr>
      <p:sp>
        <p:nvSpPr>
          <p:cNvPr id="9" name="Picture Placeholder 7"/>
          <p:cNvSpPr>
            <a:spLocks noGrp="1"/>
          </p:cNvSpPr>
          <p:nvPr>
            <p:ph type="pic" sz="quarter" idx="10" hasCustomPrompt="1"/>
          </p:nvPr>
        </p:nvSpPr>
        <p:spPr>
          <a:xfrm>
            <a:off x="4328160" y="187331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11" name="Picture Placeholder 7"/>
          <p:cNvSpPr>
            <a:spLocks noGrp="1"/>
          </p:cNvSpPr>
          <p:nvPr>
            <p:ph type="pic" sz="quarter" idx="13" hasCustomPrompt="1"/>
          </p:nvPr>
        </p:nvSpPr>
        <p:spPr>
          <a:xfrm>
            <a:off x="533665" y="187331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13" name="Picture Placeholder 7"/>
          <p:cNvSpPr>
            <a:spLocks noGrp="1"/>
          </p:cNvSpPr>
          <p:nvPr>
            <p:ph type="pic" sz="quarter" idx="15" hasCustomPrompt="1"/>
          </p:nvPr>
        </p:nvSpPr>
        <p:spPr>
          <a:xfrm>
            <a:off x="8116233" y="187331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7" name="Picture Placeholder 7"/>
          <p:cNvSpPr>
            <a:spLocks noGrp="1"/>
          </p:cNvSpPr>
          <p:nvPr>
            <p:ph type="pic" sz="quarter" idx="16" hasCustomPrompt="1"/>
          </p:nvPr>
        </p:nvSpPr>
        <p:spPr>
          <a:xfrm>
            <a:off x="4328160" y="428310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8" name="Picture Placeholder 7"/>
          <p:cNvSpPr>
            <a:spLocks noGrp="1"/>
          </p:cNvSpPr>
          <p:nvPr>
            <p:ph type="pic" sz="quarter" idx="17" hasCustomPrompt="1"/>
          </p:nvPr>
        </p:nvSpPr>
        <p:spPr>
          <a:xfrm>
            <a:off x="533665" y="428310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12" name="Picture Placeholder 7"/>
          <p:cNvSpPr>
            <a:spLocks noGrp="1"/>
          </p:cNvSpPr>
          <p:nvPr>
            <p:ph type="pic" sz="quarter" idx="18" hasCustomPrompt="1"/>
          </p:nvPr>
        </p:nvSpPr>
        <p:spPr>
          <a:xfrm>
            <a:off x="8116233" y="4283109"/>
            <a:ext cx="3535680" cy="2092291"/>
          </a:xfrm>
          <a:prstGeom prst="rect">
            <a:avLst/>
          </a:prstGeom>
          <a:solidFill>
            <a:schemeClr val="tx2">
              <a:lumMod val="10000"/>
              <a:lumOff val="90000"/>
            </a:schemeClr>
          </a:solidFill>
          <a:ln w="19050">
            <a:noFill/>
          </a:ln>
        </p:spPr>
        <p:txBody>
          <a:bodyPr lIns="0" tIns="0" rIns="0" bIns="274320" anchor="b"/>
          <a:lstStyle>
            <a:lvl1pPr algn="ctr" rtl="0">
              <a:buNone/>
              <a:defRPr sz="1867">
                <a:solidFill>
                  <a:schemeClr val="tx1">
                    <a:lumMod val="75000"/>
                    <a:lumOff val="25000"/>
                  </a:schemeClr>
                </a:solidFill>
              </a:defRPr>
            </a:lvl1pPr>
          </a:lstStyle>
          <a:p>
            <a:r>
              <a:rPr lang="en-US"/>
              <a:t>Image Holder</a:t>
            </a:r>
          </a:p>
        </p:txBody>
      </p:sp>
      <p:sp>
        <p:nvSpPr>
          <p:cNvPr id="10"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15"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352591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GPSST0058">
    <p:spTree>
      <p:nvGrpSpPr>
        <p:cNvPr id="1" name=""/>
        <p:cNvGrpSpPr/>
        <p:nvPr/>
      </p:nvGrpSpPr>
      <p:grpSpPr>
        <a:xfrm>
          <a:off x="0" y="0"/>
          <a:ext cx="0" cy="0"/>
          <a:chOff x="0" y="0"/>
          <a:chExt cx="0" cy="0"/>
        </a:xfrm>
      </p:grpSpPr>
      <p:sp>
        <p:nvSpPr>
          <p:cNvPr id="9" name="Picture Placeholder 7"/>
          <p:cNvSpPr>
            <a:spLocks noGrp="1"/>
          </p:cNvSpPr>
          <p:nvPr>
            <p:ph type="pic" sz="quarter" idx="10" hasCustomPrompt="1"/>
          </p:nvPr>
        </p:nvSpPr>
        <p:spPr>
          <a:xfrm>
            <a:off x="6240377" y="1873316"/>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1" name="Picture Placeholder 7"/>
          <p:cNvSpPr>
            <a:spLocks noGrp="1"/>
          </p:cNvSpPr>
          <p:nvPr>
            <p:ph type="pic" sz="quarter" idx="13" hasCustomPrompt="1"/>
          </p:nvPr>
        </p:nvSpPr>
        <p:spPr>
          <a:xfrm>
            <a:off x="533665" y="1873316"/>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8" name="Picture Placeholder 7"/>
          <p:cNvSpPr>
            <a:spLocks noGrp="1"/>
          </p:cNvSpPr>
          <p:nvPr>
            <p:ph type="pic" sz="quarter" idx="14" hasCustomPrompt="1"/>
          </p:nvPr>
        </p:nvSpPr>
        <p:spPr>
          <a:xfrm>
            <a:off x="3387021" y="1873316"/>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3" name="Picture Placeholder 7"/>
          <p:cNvSpPr>
            <a:spLocks noGrp="1"/>
          </p:cNvSpPr>
          <p:nvPr>
            <p:ph type="pic" sz="quarter" idx="15" hasCustomPrompt="1"/>
          </p:nvPr>
        </p:nvSpPr>
        <p:spPr>
          <a:xfrm>
            <a:off x="9093733" y="1873316"/>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2" name="Picture Placeholder 7"/>
          <p:cNvSpPr>
            <a:spLocks noGrp="1"/>
          </p:cNvSpPr>
          <p:nvPr>
            <p:ph type="pic" sz="quarter" idx="16" hasCustomPrompt="1"/>
          </p:nvPr>
        </p:nvSpPr>
        <p:spPr>
          <a:xfrm>
            <a:off x="6240377" y="4295808"/>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4" name="Picture Placeholder 7"/>
          <p:cNvSpPr>
            <a:spLocks noGrp="1"/>
          </p:cNvSpPr>
          <p:nvPr>
            <p:ph type="pic" sz="quarter" idx="17" hasCustomPrompt="1"/>
          </p:nvPr>
        </p:nvSpPr>
        <p:spPr>
          <a:xfrm>
            <a:off x="533665" y="4295808"/>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6" name="Picture Placeholder 7"/>
          <p:cNvSpPr>
            <a:spLocks noGrp="1"/>
          </p:cNvSpPr>
          <p:nvPr>
            <p:ph type="pic" sz="quarter" idx="18" hasCustomPrompt="1"/>
          </p:nvPr>
        </p:nvSpPr>
        <p:spPr>
          <a:xfrm>
            <a:off x="3387021" y="4295808"/>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7" name="Picture Placeholder 7"/>
          <p:cNvSpPr>
            <a:spLocks noGrp="1"/>
          </p:cNvSpPr>
          <p:nvPr>
            <p:ph type="pic" sz="quarter" idx="19" hasCustomPrompt="1"/>
          </p:nvPr>
        </p:nvSpPr>
        <p:spPr>
          <a:xfrm>
            <a:off x="9093733" y="4295808"/>
            <a:ext cx="2560320" cy="2079592"/>
          </a:xfrm>
          <a:prstGeom prst="rect">
            <a:avLst/>
          </a:prstGeom>
          <a:solidFill>
            <a:schemeClr val="tx2">
              <a:lumMod val="10000"/>
              <a:lumOff val="90000"/>
            </a:schemeClr>
          </a:solidFill>
          <a:ln w="19050">
            <a:noFill/>
          </a:ln>
        </p:spPr>
        <p:txBody>
          <a:bodyPr lIns="0" tIns="91440" rIns="0" bIns="365760" anchor="b"/>
          <a:lstStyle>
            <a:lvl1pPr algn="ctr" rtl="0">
              <a:buNone/>
              <a:defRPr sz="1600">
                <a:solidFill>
                  <a:schemeClr val="tx1">
                    <a:lumMod val="75000"/>
                    <a:lumOff val="25000"/>
                  </a:schemeClr>
                </a:solidFill>
              </a:defRPr>
            </a:lvl1pPr>
          </a:lstStyle>
          <a:p>
            <a:r>
              <a:rPr lang="en-US"/>
              <a:t>Image Holder</a:t>
            </a:r>
          </a:p>
        </p:txBody>
      </p:sp>
      <p:sp>
        <p:nvSpPr>
          <p:cNvPr id="15"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20"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27419906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Main Title &amp; Subtitle NPD">
    <p:spTree>
      <p:nvGrpSpPr>
        <p:cNvPr id="1" name=""/>
        <p:cNvGrpSpPr/>
        <p:nvPr/>
      </p:nvGrpSpPr>
      <p:grpSpPr>
        <a:xfrm>
          <a:off x="0" y="0"/>
          <a:ext cx="0" cy="0"/>
          <a:chOff x="0" y="0"/>
          <a:chExt cx="0" cy="0"/>
        </a:xfrm>
      </p:grpSpPr>
      <p:sp>
        <p:nvSpPr>
          <p:cNvPr id="6" name="Text Placeholder 3"/>
          <p:cNvSpPr>
            <a:spLocks noGrp="1"/>
          </p:cNvSpPr>
          <p:nvPr>
            <p:ph type="body" sz="half" idx="2" hasCustomPrompt="1"/>
          </p:nvPr>
        </p:nvSpPr>
        <p:spPr>
          <a:xfrm>
            <a:off x="517093" y="974041"/>
            <a:ext cx="11157817" cy="231007"/>
          </a:xfrm>
          <a:prstGeom prst="rect">
            <a:avLst/>
          </a:prstGeom>
        </p:spPr>
        <p:txBody>
          <a:bodyPr wrap="none" lIns="0" tIns="0" rIns="0" bIns="0" anchor="ctr">
            <a:noAutofit/>
          </a:bodyPr>
          <a:lstStyle>
            <a:lvl1pPr marL="0" indent="0" algn="l">
              <a:buNone/>
              <a:defRPr sz="1467" b="0" baseline="0">
                <a:solidFill>
                  <a:schemeClr val="bg1">
                    <a:lumMod val="50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dirty="0"/>
              <a:t>CLICK TO EDITE SUBTITLE</a:t>
            </a:r>
          </a:p>
        </p:txBody>
      </p:sp>
      <p:sp>
        <p:nvSpPr>
          <p:cNvPr id="7" name="Title 2"/>
          <p:cNvSpPr>
            <a:spLocks noGrp="1"/>
          </p:cNvSpPr>
          <p:nvPr>
            <p:ph type="title"/>
          </p:nvPr>
        </p:nvSpPr>
        <p:spPr>
          <a:xfrm>
            <a:off x="517093" y="376816"/>
            <a:ext cx="11157817" cy="545945"/>
          </a:xfrm>
          <a:prstGeom prst="rect">
            <a:avLst/>
          </a:prstGeom>
        </p:spPr>
        <p:txBody>
          <a:bodyPr lIns="0" tIns="0" rIns="0" bIns="0" anchor="ctr"/>
          <a:lstStyle>
            <a:lvl1pPr algn="l">
              <a:defRPr sz="4000">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3037539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Main Title &amp; Subtitle">
    <p:spTree>
      <p:nvGrpSpPr>
        <p:cNvPr id="1" name=""/>
        <p:cNvGrpSpPr/>
        <p:nvPr/>
      </p:nvGrpSpPr>
      <p:grpSpPr>
        <a:xfrm>
          <a:off x="0" y="0"/>
          <a:ext cx="0" cy="0"/>
          <a:chOff x="0" y="0"/>
          <a:chExt cx="0" cy="0"/>
        </a:xfrm>
      </p:grpSpPr>
      <p:sp>
        <p:nvSpPr>
          <p:cNvPr id="6" name="Text Placeholder 3"/>
          <p:cNvSpPr>
            <a:spLocks noGrp="1"/>
          </p:cNvSpPr>
          <p:nvPr>
            <p:ph type="body" sz="half" idx="2" hasCustomPrompt="1"/>
          </p:nvPr>
        </p:nvSpPr>
        <p:spPr>
          <a:xfrm>
            <a:off x="517093" y="974041"/>
            <a:ext cx="11157817" cy="231007"/>
          </a:xfrm>
          <a:prstGeom prst="rect">
            <a:avLst/>
          </a:prstGeom>
        </p:spPr>
        <p:txBody>
          <a:bodyPr wrap="none" lIns="0" tIns="0" rIns="0" bIns="0" anchor="ctr">
            <a:noAutofit/>
          </a:bodyPr>
          <a:lstStyle>
            <a:lvl1pPr marL="0" indent="0" algn="l">
              <a:buNone/>
              <a:defRPr sz="1467" b="0" baseline="0">
                <a:solidFill>
                  <a:schemeClr val="bg1">
                    <a:lumMod val="50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dirty="0"/>
              <a:t>CLICK TO EDITE SUBTITLE</a:t>
            </a:r>
          </a:p>
        </p:txBody>
      </p:sp>
      <p:sp>
        <p:nvSpPr>
          <p:cNvPr id="7" name="Title 2"/>
          <p:cNvSpPr>
            <a:spLocks noGrp="1"/>
          </p:cNvSpPr>
          <p:nvPr>
            <p:ph type="title"/>
          </p:nvPr>
        </p:nvSpPr>
        <p:spPr>
          <a:xfrm>
            <a:off x="517093" y="376816"/>
            <a:ext cx="11157817" cy="545945"/>
          </a:xfrm>
          <a:prstGeom prst="rect">
            <a:avLst/>
          </a:prstGeom>
        </p:spPr>
        <p:txBody>
          <a:bodyPr lIns="0" tIns="0" rIns="0" bIns="0" anchor="ctr"/>
          <a:lstStyle>
            <a:lvl1pPr algn="l">
              <a:defRPr sz="4000">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19683690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Main Title &amp; Subtitle_BSMTP2">
    <p:spTree>
      <p:nvGrpSpPr>
        <p:cNvPr id="1" name=""/>
        <p:cNvGrpSpPr/>
        <p:nvPr/>
      </p:nvGrpSpPr>
      <p:grpSpPr>
        <a:xfrm>
          <a:off x="0" y="0"/>
          <a:ext cx="0" cy="0"/>
          <a:chOff x="0" y="0"/>
          <a:chExt cx="0" cy="0"/>
        </a:xfrm>
      </p:grpSpPr>
      <p:sp>
        <p:nvSpPr>
          <p:cNvPr id="7" name="Title 2"/>
          <p:cNvSpPr>
            <a:spLocks noGrp="1"/>
          </p:cNvSpPr>
          <p:nvPr>
            <p:ph type="title"/>
          </p:nvPr>
        </p:nvSpPr>
        <p:spPr>
          <a:xfrm>
            <a:off x="517093" y="376816"/>
            <a:ext cx="11157817" cy="545945"/>
          </a:xfrm>
          <a:prstGeom prst="rect">
            <a:avLst/>
          </a:prstGeom>
        </p:spPr>
        <p:txBody>
          <a:bodyPr lIns="0" tIns="0" rIns="0" bIns="0" anchor="ctr"/>
          <a:lstStyle>
            <a:lvl1pPr algn="l">
              <a:defRPr sz="3467" b="0">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458846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attern Periwink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349836098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marR="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sz="2000" cap="all" baseline="0">
                <a:solidFill>
                  <a:schemeClr val="bg1"/>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CAD55525-7B9F-A240-8886-28D6CF78646E}"/>
              </a:ext>
            </a:extLst>
          </p:cNvPr>
          <p:cNvSpPr/>
          <p:nvPr/>
        </p:nvSpPr>
        <p:spPr>
          <a:xfrm>
            <a:off x="0" y="6629400"/>
            <a:ext cx="12192000" cy="228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white text on a black background&#10;&#10;Description automatically generated">
            <a:extLst>
              <a:ext uri="{FF2B5EF4-FFF2-40B4-BE49-F238E27FC236}">
                <a16:creationId xmlns:a16="http://schemas.microsoft.com/office/drawing/2014/main" id="{F0EA2F27-9CE5-9488-13CD-01EA7614C9C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5386" y="5786151"/>
            <a:ext cx="2617308" cy="490335"/>
          </a:xfrm>
          <a:prstGeom prst="rect">
            <a:avLst/>
          </a:prstGeom>
        </p:spPr>
      </p:pic>
    </p:spTree>
    <p:extLst>
      <p:ext uri="{BB962C8B-B14F-4D97-AF65-F5344CB8AC3E}">
        <p14:creationId xmlns:p14="http://schemas.microsoft.com/office/powerpoint/2010/main" val="3758212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GPSST0075">
    <p:spTree>
      <p:nvGrpSpPr>
        <p:cNvPr id="1" name=""/>
        <p:cNvGrpSpPr/>
        <p:nvPr/>
      </p:nvGrpSpPr>
      <p:grpSpPr>
        <a:xfrm>
          <a:off x="0" y="0"/>
          <a:ext cx="0" cy="0"/>
          <a:chOff x="0" y="0"/>
          <a:chExt cx="0" cy="0"/>
        </a:xfrm>
      </p:grpSpPr>
      <p:sp>
        <p:nvSpPr>
          <p:cNvPr id="10" name="Picture Placeholder 9"/>
          <p:cNvSpPr>
            <a:spLocks noGrp="1"/>
          </p:cNvSpPr>
          <p:nvPr>
            <p:ph type="pic" sz="quarter" idx="12" hasCustomPrompt="1"/>
          </p:nvPr>
        </p:nvSpPr>
        <p:spPr>
          <a:xfrm>
            <a:off x="5039533" y="1890863"/>
            <a:ext cx="2119313" cy="4564197"/>
          </a:xfrm>
          <a:custGeom>
            <a:avLst/>
            <a:gdLst>
              <a:gd name="connsiteX0" fmla="*/ 158949 w 1589485"/>
              <a:gd name="connsiteY0" fmla="*/ 0 h 3423148"/>
              <a:gd name="connsiteX1" fmla="*/ 167314 w 1589485"/>
              <a:gd name="connsiteY1" fmla="*/ 0 h 3423148"/>
              <a:gd name="connsiteX2" fmla="*/ 331840 w 1589485"/>
              <a:gd name="connsiteY2" fmla="*/ 0 h 3423148"/>
              <a:gd name="connsiteX3" fmla="*/ 354149 w 1589485"/>
              <a:gd name="connsiteY3" fmla="*/ 19450 h 3423148"/>
              <a:gd name="connsiteX4" fmla="*/ 354149 w 1589485"/>
              <a:gd name="connsiteY4" fmla="*/ 44456 h 3423148"/>
              <a:gd name="connsiteX5" fmla="*/ 432229 w 1589485"/>
              <a:gd name="connsiteY5" fmla="*/ 125034 h 3423148"/>
              <a:gd name="connsiteX6" fmla="*/ 435017 w 1589485"/>
              <a:gd name="connsiteY6" fmla="*/ 125034 h 3423148"/>
              <a:gd name="connsiteX7" fmla="*/ 437806 w 1589485"/>
              <a:gd name="connsiteY7" fmla="*/ 125034 h 3423148"/>
              <a:gd name="connsiteX8" fmla="*/ 1154468 w 1589485"/>
              <a:gd name="connsiteY8" fmla="*/ 125034 h 3423148"/>
              <a:gd name="connsiteX9" fmla="*/ 1157257 w 1589485"/>
              <a:gd name="connsiteY9" fmla="*/ 125034 h 3423148"/>
              <a:gd name="connsiteX10" fmla="*/ 1238125 w 1589485"/>
              <a:gd name="connsiteY10" fmla="*/ 44456 h 3423148"/>
              <a:gd name="connsiteX11" fmla="*/ 1238125 w 1589485"/>
              <a:gd name="connsiteY11" fmla="*/ 22228 h 3423148"/>
              <a:gd name="connsiteX12" fmla="*/ 1238125 w 1589485"/>
              <a:gd name="connsiteY12" fmla="*/ 19450 h 3423148"/>
              <a:gd name="connsiteX13" fmla="*/ 1260434 w 1589485"/>
              <a:gd name="connsiteY13" fmla="*/ 0 h 3423148"/>
              <a:gd name="connsiteX14" fmla="*/ 1422171 w 1589485"/>
              <a:gd name="connsiteY14" fmla="*/ 0 h 3423148"/>
              <a:gd name="connsiteX15" fmla="*/ 1589485 w 1589485"/>
              <a:gd name="connsiteY15" fmla="*/ 166712 h 3423148"/>
              <a:gd name="connsiteX16" fmla="*/ 1589485 w 1589485"/>
              <a:gd name="connsiteY16" fmla="*/ 3253658 h 3423148"/>
              <a:gd name="connsiteX17" fmla="*/ 1422171 w 1589485"/>
              <a:gd name="connsiteY17" fmla="*/ 3423148 h 3423148"/>
              <a:gd name="connsiteX18" fmla="*/ 167314 w 1589485"/>
              <a:gd name="connsiteY18" fmla="*/ 3423148 h 3423148"/>
              <a:gd name="connsiteX19" fmla="*/ 0 w 1589485"/>
              <a:gd name="connsiteY19" fmla="*/ 3253658 h 3423148"/>
              <a:gd name="connsiteX20" fmla="*/ 0 w 1589485"/>
              <a:gd name="connsiteY20" fmla="*/ 166712 h 3423148"/>
              <a:gd name="connsiteX21" fmla="*/ 158949 w 1589485"/>
              <a:gd name="connsiteY21" fmla="*/ 0 h 342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89485" h="3423148">
                <a:moveTo>
                  <a:pt x="158949" y="0"/>
                </a:moveTo>
                <a:cubicBezTo>
                  <a:pt x="158949" y="0"/>
                  <a:pt x="158949" y="0"/>
                  <a:pt x="167314" y="0"/>
                </a:cubicBezTo>
                <a:cubicBezTo>
                  <a:pt x="167314" y="0"/>
                  <a:pt x="167314" y="0"/>
                  <a:pt x="331840" y="0"/>
                </a:cubicBezTo>
                <a:cubicBezTo>
                  <a:pt x="345783" y="0"/>
                  <a:pt x="354149" y="8336"/>
                  <a:pt x="354149" y="19450"/>
                </a:cubicBezTo>
                <a:cubicBezTo>
                  <a:pt x="354149" y="19450"/>
                  <a:pt x="354149" y="19450"/>
                  <a:pt x="354149" y="44456"/>
                </a:cubicBezTo>
                <a:cubicBezTo>
                  <a:pt x="354149" y="86134"/>
                  <a:pt x="390400" y="122255"/>
                  <a:pt x="432229" y="125034"/>
                </a:cubicBezTo>
                <a:cubicBezTo>
                  <a:pt x="435017" y="125034"/>
                  <a:pt x="435017" y="125034"/>
                  <a:pt x="435017" y="125034"/>
                </a:cubicBezTo>
                <a:cubicBezTo>
                  <a:pt x="435017" y="125034"/>
                  <a:pt x="437806" y="125034"/>
                  <a:pt x="437806" y="125034"/>
                </a:cubicBezTo>
                <a:cubicBezTo>
                  <a:pt x="437806" y="125034"/>
                  <a:pt x="437806" y="125034"/>
                  <a:pt x="1154468" y="125034"/>
                </a:cubicBezTo>
                <a:cubicBezTo>
                  <a:pt x="1154468" y="125034"/>
                  <a:pt x="1154468" y="125034"/>
                  <a:pt x="1157257" y="125034"/>
                </a:cubicBezTo>
                <a:cubicBezTo>
                  <a:pt x="1201874" y="125034"/>
                  <a:pt x="1238125" y="88913"/>
                  <a:pt x="1238125" y="44456"/>
                </a:cubicBezTo>
                <a:cubicBezTo>
                  <a:pt x="1238125" y="44456"/>
                  <a:pt x="1238125" y="44456"/>
                  <a:pt x="1238125" y="22228"/>
                </a:cubicBezTo>
                <a:cubicBezTo>
                  <a:pt x="1238125" y="22228"/>
                  <a:pt x="1238125" y="22228"/>
                  <a:pt x="1238125" y="19450"/>
                </a:cubicBezTo>
                <a:cubicBezTo>
                  <a:pt x="1238125" y="8336"/>
                  <a:pt x="1246491" y="0"/>
                  <a:pt x="1260434" y="0"/>
                </a:cubicBezTo>
                <a:cubicBezTo>
                  <a:pt x="1260434" y="0"/>
                  <a:pt x="1260434" y="0"/>
                  <a:pt x="1422171" y="0"/>
                </a:cubicBezTo>
                <a:cubicBezTo>
                  <a:pt x="1514194" y="0"/>
                  <a:pt x="1589485" y="75020"/>
                  <a:pt x="1589485" y="166712"/>
                </a:cubicBezTo>
                <a:cubicBezTo>
                  <a:pt x="1589485" y="166712"/>
                  <a:pt x="1589485" y="166712"/>
                  <a:pt x="1589485" y="3253658"/>
                </a:cubicBezTo>
                <a:cubicBezTo>
                  <a:pt x="1589485" y="3348128"/>
                  <a:pt x="1514194" y="3423148"/>
                  <a:pt x="1422171" y="3423148"/>
                </a:cubicBezTo>
                <a:cubicBezTo>
                  <a:pt x="1422171" y="3423148"/>
                  <a:pt x="1422171" y="3423148"/>
                  <a:pt x="167314" y="3423148"/>
                </a:cubicBezTo>
                <a:cubicBezTo>
                  <a:pt x="75291" y="3423148"/>
                  <a:pt x="0" y="3348128"/>
                  <a:pt x="0" y="3253658"/>
                </a:cubicBezTo>
                <a:cubicBezTo>
                  <a:pt x="0" y="3253658"/>
                  <a:pt x="0" y="3253658"/>
                  <a:pt x="0" y="166712"/>
                </a:cubicBezTo>
                <a:cubicBezTo>
                  <a:pt x="0" y="75020"/>
                  <a:pt x="69714" y="2778"/>
                  <a:pt x="158949" y="0"/>
                </a:cubicBezTo>
                <a:close/>
              </a:path>
            </a:pathLst>
          </a:custGeom>
          <a:solidFill>
            <a:schemeClr val="tx2">
              <a:lumMod val="10000"/>
              <a:lumOff val="90000"/>
            </a:schemeClr>
          </a:solidFill>
          <a:ln w="19050">
            <a:noFill/>
          </a:ln>
        </p:spPr>
        <p:txBody>
          <a:bodyPr wrap="square" lIns="0" tIns="91440" rIns="0" bIns="457200" anchor="b">
            <a:noAutofit/>
          </a:bodyPr>
          <a:lstStyle>
            <a:lvl1pPr algn="ctr" rtl="0">
              <a:buNone/>
              <a:defRPr sz="1400">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8"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29474631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GPSST0079">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3477625" y="915568"/>
            <a:ext cx="2260648" cy="4868581"/>
          </a:xfrm>
          <a:custGeom>
            <a:avLst/>
            <a:gdLst>
              <a:gd name="connsiteX0" fmla="*/ 169549 w 1695486"/>
              <a:gd name="connsiteY0" fmla="*/ 0 h 3651436"/>
              <a:gd name="connsiteX1" fmla="*/ 178472 w 1695486"/>
              <a:gd name="connsiteY1" fmla="*/ 0 h 3651436"/>
              <a:gd name="connsiteX2" fmla="*/ 353970 w 1695486"/>
              <a:gd name="connsiteY2" fmla="*/ 0 h 3651436"/>
              <a:gd name="connsiteX3" fmla="*/ 377766 w 1695486"/>
              <a:gd name="connsiteY3" fmla="*/ 20747 h 3651436"/>
              <a:gd name="connsiteX4" fmla="*/ 377766 w 1695486"/>
              <a:gd name="connsiteY4" fmla="*/ 47421 h 3651436"/>
              <a:gd name="connsiteX5" fmla="*/ 461053 w 1695486"/>
              <a:gd name="connsiteY5" fmla="*/ 133372 h 3651436"/>
              <a:gd name="connsiteX6" fmla="*/ 464028 w 1695486"/>
              <a:gd name="connsiteY6" fmla="*/ 133372 h 3651436"/>
              <a:gd name="connsiteX7" fmla="*/ 467003 w 1695486"/>
              <a:gd name="connsiteY7" fmla="*/ 133372 h 3651436"/>
              <a:gd name="connsiteX8" fmla="*/ 1231458 w 1695486"/>
              <a:gd name="connsiteY8" fmla="*/ 133372 h 3651436"/>
              <a:gd name="connsiteX9" fmla="*/ 1234433 w 1695486"/>
              <a:gd name="connsiteY9" fmla="*/ 133372 h 3651436"/>
              <a:gd name="connsiteX10" fmla="*/ 1320695 w 1695486"/>
              <a:gd name="connsiteY10" fmla="*/ 47421 h 3651436"/>
              <a:gd name="connsiteX11" fmla="*/ 1320695 w 1695486"/>
              <a:gd name="connsiteY11" fmla="*/ 23711 h 3651436"/>
              <a:gd name="connsiteX12" fmla="*/ 1320695 w 1695486"/>
              <a:gd name="connsiteY12" fmla="*/ 20747 h 3651436"/>
              <a:gd name="connsiteX13" fmla="*/ 1344491 w 1695486"/>
              <a:gd name="connsiteY13" fmla="*/ 0 h 3651436"/>
              <a:gd name="connsiteX14" fmla="*/ 1517014 w 1695486"/>
              <a:gd name="connsiteY14" fmla="*/ 0 h 3651436"/>
              <a:gd name="connsiteX15" fmla="*/ 1695486 w 1695486"/>
              <a:gd name="connsiteY15" fmla="*/ 177830 h 3651436"/>
              <a:gd name="connsiteX16" fmla="*/ 1695486 w 1695486"/>
              <a:gd name="connsiteY16" fmla="*/ 3470643 h 3651436"/>
              <a:gd name="connsiteX17" fmla="*/ 1517014 w 1695486"/>
              <a:gd name="connsiteY17" fmla="*/ 3651436 h 3651436"/>
              <a:gd name="connsiteX18" fmla="*/ 178472 w 1695486"/>
              <a:gd name="connsiteY18" fmla="*/ 3651436 h 3651436"/>
              <a:gd name="connsiteX19" fmla="*/ 0 w 1695486"/>
              <a:gd name="connsiteY19" fmla="*/ 3470643 h 3651436"/>
              <a:gd name="connsiteX20" fmla="*/ 0 w 1695486"/>
              <a:gd name="connsiteY20" fmla="*/ 177830 h 3651436"/>
              <a:gd name="connsiteX21" fmla="*/ 169549 w 1695486"/>
              <a:gd name="connsiteY21" fmla="*/ 0 h 365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5486" h="3651436">
                <a:moveTo>
                  <a:pt x="169549" y="0"/>
                </a:moveTo>
                <a:cubicBezTo>
                  <a:pt x="169549" y="0"/>
                  <a:pt x="169549" y="0"/>
                  <a:pt x="178472" y="0"/>
                </a:cubicBezTo>
                <a:cubicBezTo>
                  <a:pt x="178472" y="0"/>
                  <a:pt x="178472" y="0"/>
                  <a:pt x="353970" y="0"/>
                </a:cubicBezTo>
                <a:cubicBezTo>
                  <a:pt x="368843" y="0"/>
                  <a:pt x="377766" y="8892"/>
                  <a:pt x="377766" y="20747"/>
                </a:cubicBezTo>
                <a:cubicBezTo>
                  <a:pt x="377766" y="20747"/>
                  <a:pt x="377766" y="20747"/>
                  <a:pt x="377766" y="47421"/>
                </a:cubicBezTo>
                <a:cubicBezTo>
                  <a:pt x="377766" y="91879"/>
                  <a:pt x="416435" y="130408"/>
                  <a:pt x="461053" y="133372"/>
                </a:cubicBezTo>
                <a:cubicBezTo>
                  <a:pt x="464028" y="133372"/>
                  <a:pt x="464028" y="133372"/>
                  <a:pt x="464028" y="133372"/>
                </a:cubicBezTo>
                <a:cubicBezTo>
                  <a:pt x="464028" y="133372"/>
                  <a:pt x="467003" y="133372"/>
                  <a:pt x="467003" y="133372"/>
                </a:cubicBezTo>
                <a:cubicBezTo>
                  <a:pt x="467003" y="133372"/>
                  <a:pt x="467003" y="133372"/>
                  <a:pt x="1231458" y="133372"/>
                </a:cubicBezTo>
                <a:cubicBezTo>
                  <a:pt x="1231458" y="133372"/>
                  <a:pt x="1231458" y="133372"/>
                  <a:pt x="1234433" y="133372"/>
                </a:cubicBezTo>
                <a:cubicBezTo>
                  <a:pt x="1282026" y="133372"/>
                  <a:pt x="1320695" y="94843"/>
                  <a:pt x="1320695" y="47421"/>
                </a:cubicBezTo>
                <a:cubicBezTo>
                  <a:pt x="1320695" y="47421"/>
                  <a:pt x="1320695" y="47421"/>
                  <a:pt x="1320695" y="23711"/>
                </a:cubicBezTo>
                <a:cubicBezTo>
                  <a:pt x="1320695" y="23711"/>
                  <a:pt x="1320695" y="23711"/>
                  <a:pt x="1320695" y="20747"/>
                </a:cubicBezTo>
                <a:cubicBezTo>
                  <a:pt x="1320695" y="8892"/>
                  <a:pt x="1329618" y="0"/>
                  <a:pt x="1344491" y="0"/>
                </a:cubicBezTo>
                <a:cubicBezTo>
                  <a:pt x="1344491" y="0"/>
                  <a:pt x="1344491" y="0"/>
                  <a:pt x="1517014" y="0"/>
                </a:cubicBezTo>
                <a:cubicBezTo>
                  <a:pt x="1615174" y="0"/>
                  <a:pt x="1695486" y="80023"/>
                  <a:pt x="1695486" y="177830"/>
                </a:cubicBezTo>
                <a:cubicBezTo>
                  <a:pt x="1695486" y="177830"/>
                  <a:pt x="1695486" y="177830"/>
                  <a:pt x="1695486" y="3470643"/>
                </a:cubicBezTo>
                <a:cubicBezTo>
                  <a:pt x="1695486" y="3571413"/>
                  <a:pt x="1615174" y="3651436"/>
                  <a:pt x="1517014" y="3651436"/>
                </a:cubicBezTo>
                <a:cubicBezTo>
                  <a:pt x="1517014" y="3651436"/>
                  <a:pt x="1517014" y="3651436"/>
                  <a:pt x="178472" y="3651436"/>
                </a:cubicBezTo>
                <a:cubicBezTo>
                  <a:pt x="80312" y="3651436"/>
                  <a:pt x="0" y="3571413"/>
                  <a:pt x="0" y="3470643"/>
                </a:cubicBezTo>
                <a:cubicBezTo>
                  <a:pt x="0" y="3470643"/>
                  <a:pt x="0" y="3470643"/>
                  <a:pt x="0" y="177830"/>
                </a:cubicBezTo>
                <a:cubicBezTo>
                  <a:pt x="0" y="80023"/>
                  <a:pt x="74363" y="2964"/>
                  <a:pt x="169549" y="0"/>
                </a:cubicBezTo>
                <a:close/>
              </a:path>
            </a:pathLst>
          </a:custGeom>
          <a:solidFill>
            <a:schemeClr val="tx2">
              <a:lumMod val="10000"/>
              <a:lumOff val="90000"/>
            </a:schemeClr>
          </a:solidFill>
          <a:ln w="19050">
            <a:noFill/>
          </a:ln>
        </p:spPr>
        <p:txBody>
          <a:bodyPr wrap="square" lIns="0" tIns="91440" rIns="0" bIns="457200" anchor="b">
            <a:noAutofit/>
          </a:bodyPr>
          <a:lstStyle>
            <a:lvl1pPr algn="ctr" rtl="0">
              <a:buNone/>
              <a:defRPr sz="1400">
                <a:solidFill>
                  <a:schemeClr val="tx1">
                    <a:lumMod val="75000"/>
                    <a:lumOff val="25000"/>
                  </a:schemeClr>
                </a:solidFill>
              </a:defRPr>
            </a:lvl1pPr>
          </a:lstStyle>
          <a:p>
            <a:r>
              <a:rPr lang="en-US"/>
              <a:t>Image Holder</a:t>
            </a:r>
          </a:p>
        </p:txBody>
      </p:sp>
      <p:sp>
        <p:nvSpPr>
          <p:cNvPr id="11" name="Picture Placeholder 10"/>
          <p:cNvSpPr>
            <a:spLocks noGrp="1"/>
          </p:cNvSpPr>
          <p:nvPr>
            <p:ph type="pic" sz="quarter" idx="14" hasCustomPrompt="1"/>
          </p:nvPr>
        </p:nvSpPr>
        <p:spPr>
          <a:xfrm>
            <a:off x="720653" y="915568"/>
            <a:ext cx="2260648" cy="4868581"/>
          </a:xfrm>
          <a:custGeom>
            <a:avLst/>
            <a:gdLst>
              <a:gd name="connsiteX0" fmla="*/ 169549 w 1695486"/>
              <a:gd name="connsiteY0" fmla="*/ 0 h 3651436"/>
              <a:gd name="connsiteX1" fmla="*/ 178472 w 1695486"/>
              <a:gd name="connsiteY1" fmla="*/ 0 h 3651436"/>
              <a:gd name="connsiteX2" fmla="*/ 353970 w 1695486"/>
              <a:gd name="connsiteY2" fmla="*/ 0 h 3651436"/>
              <a:gd name="connsiteX3" fmla="*/ 377766 w 1695486"/>
              <a:gd name="connsiteY3" fmla="*/ 20747 h 3651436"/>
              <a:gd name="connsiteX4" fmla="*/ 377766 w 1695486"/>
              <a:gd name="connsiteY4" fmla="*/ 47421 h 3651436"/>
              <a:gd name="connsiteX5" fmla="*/ 461053 w 1695486"/>
              <a:gd name="connsiteY5" fmla="*/ 133372 h 3651436"/>
              <a:gd name="connsiteX6" fmla="*/ 464028 w 1695486"/>
              <a:gd name="connsiteY6" fmla="*/ 133372 h 3651436"/>
              <a:gd name="connsiteX7" fmla="*/ 467003 w 1695486"/>
              <a:gd name="connsiteY7" fmla="*/ 133372 h 3651436"/>
              <a:gd name="connsiteX8" fmla="*/ 1231458 w 1695486"/>
              <a:gd name="connsiteY8" fmla="*/ 133372 h 3651436"/>
              <a:gd name="connsiteX9" fmla="*/ 1234433 w 1695486"/>
              <a:gd name="connsiteY9" fmla="*/ 133372 h 3651436"/>
              <a:gd name="connsiteX10" fmla="*/ 1320695 w 1695486"/>
              <a:gd name="connsiteY10" fmla="*/ 47421 h 3651436"/>
              <a:gd name="connsiteX11" fmla="*/ 1320695 w 1695486"/>
              <a:gd name="connsiteY11" fmla="*/ 23711 h 3651436"/>
              <a:gd name="connsiteX12" fmla="*/ 1320695 w 1695486"/>
              <a:gd name="connsiteY12" fmla="*/ 20747 h 3651436"/>
              <a:gd name="connsiteX13" fmla="*/ 1344491 w 1695486"/>
              <a:gd name="connsiteY13" fmla="*/ 0 h 3651436"/>
              <a:gd name="connsiteX14" fmla="*/ 1517014 w 1695486"/>
              <a:gd name="connsiteY14" fmla="*/ 0 h 3651436"/>
              <a:gd name="connsiteX15" fmla="*/ 1695486 w 1695486"/>
              <a:gd name="connsiteY15" fmla="*/ 177830 h 3651436"/>
              <a:gd name="connsiteX16" fmla="*/ 1695486 w 1695486"/>
              <a:gd name="connsiteY16" fmla="*/ 3470643 h 3651436"/>
              <a:gd name="connsiteX17" fmla="*/ 1517014 w 1695486"/>
              <a:gd name="connsiteY17" fmla="*/ 3651436 h 3651436"/>
              <a:gd name="connsiteX18" fmla="*/ 178472 w 1695486"/>
              <a:gd name="connsiteY18" fmla="*/ 3651436 h 3651436"/>
              <a:gd name="connsiteX19" fmla="*/ 0 w 1695486"/>
              <a:gd name="connsiteY19" fmla="*/ 3470643 h 3651436"/>
              <a:gd name="connsiteX20" fmla="*/ 0 w 1695486"/>
              <a:gd name="connsiteY20" fmla="*/ 177830 h 3651436"/>
              <a:gd name="connsiteX21" fmla="*/ 169549 w 1695486"/>
              <a:gd name="connsiteY21" fmla="*/ 0 h 365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5486" h="3651436">
                <a:moveTo>
                  <a:pt x="169549" y="0"/>
                </a:moveTo>
                <a:cubicBezTo>
                  <a:pt x="169549" y="0"/>
                  <a:pt x="169549" y="0"/>
                  <a:pt x="178472" y="0"/>
                </a:cubicBezTo>
                <a:cubicBezTo>
                  <a:pt x="178472" y="0"/>
                  <a:pt x="178472" y="0"/>
                  <a:pt x="353970" y="0"/>
                </a:cubicBezTo>
                <a:cubicBezTo>
                  <a:pt x="368843" y="0"/>
                  <a:pt x="377766" y="8892"/>
                  <a:pt x="377766" y="20747"/>
                </a:cubicBezTo>
                <a:cubicBezTo>
                  <a:pt x="377766" y="20747"/>
                  <a:pt x="377766" y="20747"/>
                  <a:pt x="377766" y="47421"/>
                </a:cubicBezTo>
                <a:cubicBezTo>
                  <a:pt x="377766" y="91879"/>
                  <a:pt x="416435" y="130408"/>
                  <a:pt x="461053" y="133372"/>
                </a:cubicBezTo>
                <a:cubicBezTo>
                  <a:pt x="464028" y="133372"/>
                  <a:pt x="464028" y="133372"/>
                  <a:pt x="464028" y="133372"/>
                </a:cubicBezTo>
                <a:cubicBezTo>
                  <a:pt x="464028" y="133372"/>
                  <a:pt x="467003" y="133372"/>
                  <a:pt x="467003" y="133372"/>
                </a:cubicBezTo>
                <a:cubicBezTo>
                  <a:pt x="467003" y="133372"/>
                  <a:pt x="467003" y="133372"/>
                  <a:pt x="1231458" y="133372"/>
                </a:cubicBezTo>
                <a:cubicBezTo>
                  <a:pt x="1231458" y="133372"/>
                  <a:pt x="1231458" y="133372"/>
                  <a:pt x="1234433" y="133372"/>
                </a:cubicBezTo>
                <a:cubicBezTo>
                  <a:pt x="1282026" y="133372"/>
                  <a:pt x="1320695" y="94843"/>
                  <a:pt x="1320695" y="47421"/>
                </a:cubicBezTo>
                <a:cubicBezTo>
                  <a:pt x="1320695" y="47421"/>
                  <a:pt x="1320695" y="47421"/>
                  <a:pt x="1320695" y="23711"/>
                </a:cubicBezTo>
                <a:cubicBezTo>
                  <a:pt x="1320695" y="23711"/>
                  <a:pt x="1320695" y="23711"/>
                  <a:pt x="1320695" y="20747"/>
                </a:cubicBezTo>
                <a:cubicBezTo>
                  <a:pt x="1320695" y="8892"/>
                  <a:pt x="1329618" y="0"/>
                  <a:pt x="1344491" y="0"/>
                </a:cubicBezTo>
                <a:cubicBezTo>
                  <a:pt x="1344491" y="0"/>
                  <a:pt x="1344491" y="0"/>
                  <a:pt x="1517014" y="0"/>
                </a:cubicBezTo>
                <a:cubicBezTo>
                  <a:pt x="1615174" y="0"/>
                  <a:pt x="1695486" y="80023"/>
                  <a:pt x="1695486" y="177830"/>
                </a:cubicBezTo>
                <a:cubicBezTo>
                  <a:pt x="1695486" y="177830"/>
                  <a:pt x="1695486" y="177830"/>
                  <a:pt x="1695486" y="3470643"/>
                </a:cubicBezTo>
                <a:cubicBezTo>
                  <a:pt x="1695486" y="3571413"/>
                  <a:pt x="1615174" y="3651436"/>
                  <a:pt x="1517014" y="3651436"/>
                </a:cubicBezTo>
                <a:cubicBezTo>
                  <a:pt x="1517014" y="3651436"/>
                  <a:pt x="1517014" y="3651436"/>
                  <a:pt x="178472" y="3651436"/>
                </a:cubicBezTo>
                <a:cubicBezTo>
                  <a:pt x="80312" y="3651436"/>
                  <a:pt x="0" y="3571413"/>
                  <a:pt x="0" y="3470643"/>
                </a:cubicBezTo>
                <a:cubicBezTo>
                  <a:pt x="0" y="3470643"/>
                  <a:pt x="0" y="3470643"/>
                  <a:pt x="0" y="177830"/>
                </a:cubicBezTo>
                <a:cubicBezTo>
                  <a:pt x="0" y="80023"/>
                  <a:pt x="74363" y="2964"/>
                  <a:pt x="169549" y="0"/>
                </a:cubicBezTo>
                <a:close/>
              </a:path>
            </a:pathLst>
          </a:custGeom>
          <a:solidFill>
            <a:schemeClr val="tx2">
              <a:lumMod val="10000"/>
              <a:lumOff val="90000"/>
            </a:schemeClr>
          </a:solidFill>
          <a:ln w="19050">
            <a:noFill/>
          </a:ln>
        </p:spPr>
        <p:txBody>
          <a:bodyPr wrap="square" lIns="0" tIns="91440" rIns="0" bIns="457200" anchor="b">
            <a:noAutofit/>
          </a:bodyPr>
          <a:lstStyle>
            <a:lvl1pPr algn="ctr" rtl="0">
              <a:buNone/>
              <a:defRPr sz="1400">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21033328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GPSST0084">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6109713" y="2428236"/>
            <a:ext cx="4808475" cy="3032955"/>
          </a:xfrm>
          <a:custGeom>
            <a:avLst/>
            <a:gdLst>
              <a:gd name="connsiteX0" fmla="*/ 0 w 3606356"/>
              <a:gd name="connsiteY0" fmla="*/ 0 h 2274716"/>
              <a:gd name="connsiteX1" fmla="*/ 3606356 w 3606356"/>
              <a:gd name="connsiteY1" fmla="*/ 0 h 2274716"/>
              <a:gd name="connsiteX2" fmla="*/ 3606356 w 3606356"/>
              <a:gd name="connsiteY2" fmla="*/ 2274716 h 2274716"/>
              <a:gd name="connsiteX3" fmla="*/ 0 w 3606356"/>
              <a:gd name="connsiteY3" fmla="*/ 2274716 h 2274716"/>
            </a:gdLst>
            <a:ahLst/>
            <a:cxnLst>
              <a:cxn ang="0">
                <a:pos x="connsiteX0" y="connsiteY0"/>
              </a:cxn>
              <a:cxn ang="0">
                <a:pos x="connsiteX1" y="connsiteY1"/>
              </a:cxn>
              <a:cxn ang="0">
                <a:pos x="connsiteX2" y="connsiteY2"/>
              </a:cxn>
              <a:cxn ang="0">
                <a:pos x="connsiteX3" y="connsiteY3"/>
              </a:cxn>
            </a:cxnLst>
            <a:rect l="l" t="t" r="r" b="b"/>
            <a:pathLst>
              <a:path w="3606356" h="2274716">
                <a:moveTo>
                  <a:pt x="0" y="0"/>
                </a:moveTo>
                <a:lnTo>
                  <a:pt x="3606356" y="0"/>
                </a:lnTo>
                <a:lnTo>
                  <a:pt x="3606356" y="2274716"/>
                </a:lnTo>
                <a:lnTo>
                  <a:pt x="0" y="2274716"/>
                </a:lnTo>
                <a:close/>
              </a:path>
            </a:pathLst>
          </a:custGeom>
          <a:solidFill>
            <a:schemeClr val="tx2">
              <a:lumMod val="10000"/>
              <a:lumOff val="90000"/>
            </a:schemeClr>
          </a:solidFill>
          <a:ln w="19050">
            <a:noFill/>
          </a:ln>
        </p:spPr>
        <p:txBody>
          <a:bodyPr wrap="square" lIns="0" tIns="0" rIns="0" bIns="274320" anchor="b">
            <a:noAutofit/>
          </a:bodyPr>
          <a:lstStyle>
            <a:lvl1pPr algn="ctr" rtl="0">
              <a:buNone/>
              <a:defRPr sz="1867">
                <a:solidFill>
                  <a:schemeClr val="tx1">
                    <a:lumMod val="75000"/>
                    <a:lumOff val="25000"/>
                  </a:schemeClr>
                </a:solidFill>
              </a:defRPr>
            </a:lvl1pPr>
          </a:lstStyle>
          <a:p>
            <a:r>
              <a:rPr lang="en-US"/>
              <a:t>Image Holder</a:t>
            </a:r>
          </a:p>
        </p:txBody>
      </p:sp>
      <p:sp>
        <p:nvSpPr>
          <p:cNvPr id="5"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6"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284465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GPSST0085">
    <p:spTree>
      <p:nvGrpSpPr>
        <p:cNvPr id="1" name=""/>
        <p:cNvGrpSpPr/>
        <p:nvPr/>
      </p:nvGrpSpPr>
      <p:grpSpPr>
        <a:xfrm>
          <a:off x="0" y="0"/>
          <a:ext cx="0" cy="0"/>
          <a:chOff x="0" y="0"/>
          <a:chExt cx="0" cy="0"/>
        </a:xfrm>
      </p:grpSpPr>
      <p:sp>
        <p:nvSpPr>
          <p:cNvPr id="10" name="Picture Placeholder 9"/>
          <p:cNvSpPr>
            <a:spLocks noGrp="1"/>
          </p:cNvSpPr>
          <p:nvPr>
            <p:ph type="pic" sz="quarter" idx="11" hasCustomPrompt="1"/>
          </p:nvPr>
        </p:nvSpPr>
        <p:spPr>
          <a:xfrm>
            <a:off x="1385315" y="2385903"/>
            <a:ext cx="4808475" cy="3032955"/>
          </a:xfrm>
          <a:custGeom>
            <a:avLst/>
            <a:gdLst>
              <a:gd name="connsiteX0" fmla="*/ 0 w 3606356"/>
              <a:gd name="connsiteY0" fmla="*/ 0 h 2274716"/>
              <a:gd name="connsiteX1" fmla="*/ 3606356 w 3606356"/>
              <a:gd name="connsiteY1" fmla="*/ 0 h 2274716"/>
              <a:gd name="connsiteX2" fmla="*/ 3606356 w 3606356"/>
              <a:gd name="connsiteY2" fmla="*/ 2274716 h 2274716"/>
              <a:gd name="connsiteX3" fmla="*/ 0 w 3606356"/>
              <a:gd name="connsiteY3" fmla="*/ 2274716 h 2274716"/>
            </a:gdLst>
            <a:ahLst/>
            <a:cxnLst>
              <a:cxn ang="0">
                <a:pos x="connsiteX0" y="connsiteY0"/>
              </a:cxn>
              <a:cxn ang="0">
                <a:pos x="connsiteX1" y="connsiteY1"/>
              </a:cxn>
              <a:cxn ang="0">
                <a:pos x="connsiteX2" y="connsiteY2"/>
              </a:cxn>
              <a:cxn ang="0">
                <a:pos x="connsiteX3" y="connsiteY3"/>
              </a:cxn>
            </a:cxnLst>
            <a:rect l="l" t="t" r="r" b="b"/>
            <a:pathLst>
              <a:path w="3606356" h="2274716">
                <a:moveTo>
                  <a:pt x="0" y="0"/>
                </a:moveTo>
                <a:lnTo>
                  <a:pt x="3606356" y="0"/>
                </a:lnTo>
                <a:lnTo>
                  <a:pt x="3606356" y="2274716"/>
                </a:lnTo>
                <a:lnTo>
                  <a:pt x="0" y="2274716"/>
                </a:lnTo>
                <a:close/>
              </a:path>
            </a:pathLst>
          </a:custGeom>
          <a:solidFill>
            <a:schemeClr val="tx2">
              <a:lumMod val="10000"/>
              <a:lumOff val="90000"/>
            </a:schemeClr>
          </a:solidFill>
          <a:ln w="19050">
            <a:noFill/>
          </a:ln>
        </p:spPr>
        <p:txBody>
          <a:bodyPr wrap="square" lIns="0" tIns="0" rIns="0" bIns="274320" anchor="b">
            <a:noAutofit/>
          </a:bodyPr>
          <a:lstStyle>
            <a:lvl1pPr algn="ctr" rtl="0">
              <a:buNone/>
              <a:defRPr sz="1867">
                <a:solidFill>
                  <a:schemeClr val="tx1">
                    <a:lumMod val="75000"/>
                    <a:lumOff val="25000"/>
                  </a:schemeClr>
                </a:solidFill>
              </a:defRPr>
            </a:lvl1pPr>
          </a:lstStyle>
          <a:p>
            <a:r>
              <a:rPr lang="en-US"/>
              <a:t>Image Holder</a:t>
            </a:r>
          </a:p>
        </p:txBody>
      </p:sp>
      <p:sp>
        <p:nvSpPr>
          <p:cNvPr id="5"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6"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4045831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GPSST0086">
    <p:spTree>
      <p:nvGrpSpPr>
        <p:cNvPr id="1" name=""/>
        <p:cNvGrpSpPr/>
        <p:nvPr/>
      </p:nvGrpSpPr>
      <p:grpSpPr>
        <a:xfrm>
          <a:off x="0" y="0"/>
          <a:ext cx="0" cy="0"/>
          <a:chOff x="0" y="0"/>
          <a:chExt cx="0" cy="0"/>
        </a:xfrm>
      </p:grpSpPr>
      <p:sp>
        <p:nvSpPr>
          <p:cNvPr id="10" name="Picture Placeholder 9"/>
          <p:cNvSpPr>
            <a:spLocks noGrp="1"/>
          </p:cNvSpPr>
          <p:nvPr>
            <p:ph type="pic" sz="quarter" idx="11" hasCustomPrompt="1"/>
          </p:nvPr>
        </p:nvSpPr>
        <p:spPr>
          <a:xfrm>
            <a:off x="5724069" y="1764940"/>
            <a:ext cx="5662116" cy="3192429"/>
          </a:xfrm>
          <a:custGeom>
            <a:avLst/>
            <a:gdLst>
              <a:gd name="connsiteX0" fmla="*/ 0 w 4246587"/>
              <a:gd name="connsiteY0" fmla="*/ 0 h 2394322"/>
              <a:gd name="connsiteX1" fmla="*/ 4246587 w 4246587"/>
              <a:gd name="connsiteY1" fmla="*/ 0 h 2394322"/>
              <a:gd name="connsiteX2" fmla="*/ 4246587 w 4246587"/>
              <a:gd name="connsiteY2" fmla="*/ 2394322 h 2394322"/>
              <a:gd name="connsiteX3" fmla="*/ 0 w 4246587"/>
              <a:gd name="connsiteY3" fmla="*/ 2394322 h 2394322"/>
            </a:gdLst>
            <a:ahLst/>
            <a:cxnLst>
              <a:cxn ang="0">
                <a:pos x="connsiteX0" y="connsiteY0"/>
              </a:cxn>
              <a:cxn ang="0">
                <a:pos x="connsiteX1" y="connsiteY1"/>
              </a:cxn>
              <a:cxn ang="0">
                <a:pos x="connsiteX2" y="connsiteY2"/>
              </a:cxn>
              <a:cxn ang="0">
                <a:pos x="connsiteX3" y="connsiteY3"/>
              </a:cxn>
            </a:cxnLst>
            <a:rect l="l" t="t" r="r" b="b"/>
            <a:pathLst>
              <a:path w="4246587" h="2394322">
                <a:moveTo>
                  <a:pt x="0" y="0"/>
                </a:moveTo>
                <a:lnTo>
                  <a:pt x="4246587" y="0"/>
                </a:lnTo>
                <a:lnTo>
                  <a:pt x="4246587" y="2394322"/>
                </a:lnTo>
                <a:lnTo>
                  <a:pt x="0" y="2394322"/>
                </a:lnTo>
                <a:close/>
              </a:path>
            </a:pathLst>
          </a:custGeom>
          <a:solidFill>
            <a:schemeClr val="tx2">
              <a:lumMod val="10000"/>
              <a:lumOff val="90000"/>
            </a:schemeClr>
          </a:solidFill>
          <a:ln w="19050">
            <a:noFill/>
          </a:ln>
        </p:spPr>
        <p:txBody>
          <a:bodyPr wrap="square" lIns="0" tIns="0" rIns="0" bIns="274320" anchor="b">
            <a:noAutofit/>
          </a:bodyPr>
          <a:lstStyle>
            <a:lvl1pPr algn="ctr" rtl="0">
              <a:buNone/>
              <a:defRPr sz="1867">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8"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9120007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GPSST0087">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750805" y="2174731"/>
            <a:ext cx="5108659" cy="2880377"/>
          </a:xfrm>
          <a:custGeom>
            <a:avLst/>
            <a:gdLst>
              <a:gd name="connsiteX0" fmla="*/ 0 w 3831494"/>
              <a:gd name="connsiteY0" fmla="*/ 0 h 2160283"/>
              <a:gd name="connsiteX1" fmla="*/ 3831494 w 3831494"/>
              <a:gd name="connsiteY1" fmla="*/ 0 h 2160283"/>
              <a:gd name="connsiteX2" fmla="*/ 3831494 w 3831494"/>
              <a:gd name="connsiteY2" fmla="*/ 2160283 h 2160283"/>
              <a:gd name="connsiteX3" fmla="*/ 0 w 3831494"/>
              <a:gd name="connsiteY3" fmla="*/ 2160283 h 2160283"/>
            </a:gdLst>
            <a:ahLst/>
            <a:cxnLst>
              <a:cxn ang="0">
                <a:pos x="connsiteX0" y="connsiteY0"/>
              </a:cxn>
              <a:cxn ang="0">
                <a:pos x="connsiteX1" y="connsiteY1"/>
              </a:cxn>
              <a:cxn ang="0">
                <a:pos x="connsiteX2" y="connsiteY2"/>
              </a:cxn>
              <a:cxn ang="0">
                <a:pos x="connsiteX3" y="connsiteY3"/>
              </a:cxn>
            </a:cxnLst>
            <a:rect l="l" t="t" r="r" b="b"/>
            <a:pathLst>
              <a:path w="3831494" h="2160283">
                <a:moveTo>
                  <a:pt x="0" y="0"/>
                </a:moveTo>
                <a:lnTo>
                  <a:pt x="3831494" y="0"/>
                </a:lnTo>
                <a:lnTo>
                  <a:pt x="3831494" y="2160283"/>
                </a:lnTo>
                <a:lnTo>
                  <a:pt x="0" y="2160283"/>
                </a:lnTo>
                <a:close/>
              </a:path>
            </a:pathLst>
          </a:custGeom>
          <a:solidFill>
            <a:schemeClr val="tx2">
              <a:lumMod val="10000"/>
              <a:lumOff val="90000"/>
            </a:schemeClr>
          </a:solidFill>
          <a:ln w="19050">
            <a:noFill/>
          </a:ln>
        </p:spPr>
        <p:txBody>
          <a:bodyPr wrap="square" lIns="0" tIns="0" rIns="0" bIns="274320" anchor="b">
            <a:noAutofit/>
          </a:bodyPr>
          <a:lstStyle>
            <a:lvl1pPr algn="ctr" rtl="0">
              <a:buNone/>
              <a:defRPr sz="1867">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8"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0891292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GPSST0088">
    <p:spTree>
      <p:nvGrpSpPr>
        <p:cNvPr id="1" name=""/>
        <p:cNvGrpSpPr/>
        <p:nvPr/>
      </p:nvGrpSpPr>
      <p:grpSpPr>
        <a:xfrm>
          <a:off x="0" y="0"/>
          <a:ext cx="0" cy="0"/>
          <a:chOff x="0" y="0"/>
          <a:chExt cx="0" cy="0"/>
        </a:xfrm>
      </p:grpSpPr>
      <p:sp>
        <p:nvSpPr>
          <p:cNvPr id="21" name="Picture Placeholder 20"/>
          <p:cNvSpPr>
            <a:spLocks noGrp="1"/>
          </p:cNvSpPr>
          <p:nvPr>
            <p:ph type="pic" sz="quarter" idx="11" hasCustomPrompt="1"/>
          </p:nvPr>
        </p:nvSpPr>
        <p:spPr>
          <a:xfrm>
            <a:off x="7118991" y="2202625"/>
            <a:ext cx="5657189" cy="3513485"/>
          </a:xfrm>
          <a:custGeom>
            <a:avLst/>
            <a:gdLst>
              <a:gd name="connsiteX0" fmla="*/ 0 w 4242892"/>
              <a:gd name="connsiteY0" fmla="*/ 0 h 2635114"/>
              <a:gd name="connsiteX1" fmla="*/ 4242892 w 4242892"/>
              <a:gd name="connsiteY1" fmla="*/ 0 h 2635114"/>
              <a:gd name="connsiteX2" fmla="*/ 4242892 w 4242892"/>
              <a:gd name="connsiteY2" fmla="*/ 2635114 h 2635114"/>
              <a:gd name="connsiteX3" fmla="*/ 0 w 4242892"/>
              <a:gd name="connsiteY3" fmla="*/ 2635114 h 2635114"/>
            </a:gdLst>
            <a:ahLst/>
            <a:cxnLst>
              <a:cxn ang="0">
                <a:pos x="connsiteX0" y="connsiteY0"/>
              </a:cxn>
              <a:cxn ang="0">
                <a:pos x="connsiteX1" y="connsiteY1"/>
              </a:cxn>
              <a:cxn ang="0">
                <a:pos x="connsiteX2" y="connsiteY2"/>
              </a:cxn>
              <a:cxn ang="0">
                <a:pos x="connsiteX3" y="connsiteY3"/>
              </a:cxn>
            </a:cxnLst>
            <a:rect l="l" t="t" r="r" b="b"/>
            <a:pathLst>
              <a:path w="4242892" h="2635114">
                <a:moveTo>
                  <a:pt x="0" y="0"/>
                </a:moveTo>
                <a:lnTo>
                  <a:pt x="4242892" y="0"/>
                </a:lnTo>
                <a:lnTo>
                  <a:pt x="4242892" y="2635114"/>
                </a:lnTo>
                <a:lnTo>
                  <a:pt x="0" y="2635114"/>
                </a:lnTo>
                <a:close/>
              </a:path>
            </a:pathLst>
          </a:custGeom>
          <a:solidFill>
            <a:schemeClr val="tx2">
              <a:lumMod val="10000"/>
              <a:lumOff val="90000"/>
            </a:schemeClr>
          </a:solidFill>
          <a:ln w="19050">
            <a:noFill/>
          </a:ln>
        </p:spPr>
        <p:txBody>
          <a:bodyPr wrap="square" lIns="0" tIns="91440" rIns="0" bIns="548640" anchor="b">
            <a:noAutofit/>
          </a:bodyPr>
          <a:lstStyle>
            <a:lvl1pPr algn="ctr" rtl="0">
              <a:buNone/>
              <a:defRPr sz="1467">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8"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37454723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GPSST0089">
    <p:spTree>
      <p:nvGrpSpPr>
        <p:cNvPr id="1" name=""/>
        <p:cNvGrpSpPr/>
        <p:nvPr/>
      </p:nvGrpSpPr>
      <p:grpSpPr>
        <a:xfrm>
          <a:off x="0" y="0"/>
          <a:ext cx="0" cy="0"/>
          <a:chOff x="0" y="0"/>
          <a:chExt cx="0" cy="0"/>
        </a:xfrm>
      </p:grpSpPr>
      <p:sp>
        <p:nvSpPr>
          <p:cNvPr id="8" name="Picture Placeholder 7"/>
          <p:cNvSpPr>
            <a:spLocks noGrp="1"/>
          </p:cNvSpPr>
          <p:nvPr>
            <p:ph type="pic" sz="quarter" idx="11" hasCustomPrompt="1"/>
          </p:nvPr>
        </p:nvSpPr>
        <p:spPr>
          <a:xfrm>
            <a:off x="3855958" y="2002316"/>
            <a:ext cx="4480085" cy="2782425"/>
          </a:xfrm>
          <a:custGeom>
            <a:avLst/>
            <a:gdLst>
              <a:gd name="connsiteX0" fmla="*/ 0 w 3360064"/>
              <a:gd name="connsiteY0" fmla="*/ 0 h 2086819"/>
              <a:gd name="connsiteX1" fmla="*/ 3360064 w 3360064"/>
              <a:gd name="connsiteY1" fmla="*/ 0 h 2086819"/>
              <a:gd name="connsiteX2" fmla="*/ 3360064 w 3360064"/>
              <a:gd name="connsiteY2" fmla="*/ 2086819 h 2086819"/>
              <a:gd name="connsiteX3" fmla="*/ 0 w 3360064"/>
              <a:gd name="connsiteY3" fmla="*/ 2086819 h 2086819"/>
            </a:gdLst>
            <a:ahLst/>
            <a:cxnLst>
              <a:cxn ang="0">
                <a:pos x="connsiteX0" y="connsiteY0"/>
              </a:cxn>
              <a:cxn ang="0">
                <a:pos x="connsiteX1" y="connsiteY1"/>
              </a:cxn>
              <a:cxn ang="0">
                <a:pos x="connsiteX2" y="connsiteY2"/>
              </a:cxn>
              <a:cxn ang="0">
                <a:pos x="connsiteX3" y="connsiteY3"/>
              </a:cxn>
            </a:cxnLst>
            <a:rect l="l" t="t" r="r" b="b"/>
            <a:pathLst>
              <a:path w="3360064" h="2086819">
                <a:moveTo>
                  <a:pt x="0" y="0"/>
                </a:moveTo>
                <a:lnTo>
                  <a:pt x="3360064" y="0"/>
                </a:lnTo>
                <a:lnTo>
                  <a:pt x="3360064" y="2086819"/>
                </a:lnTo>
                <a:lnTo>
                  <a:pt x="0" y="2086819"/>
                </a:lnTo>
                <a:close/>
              </a:path>
            </a:pathLst>
          </a:custGeom>
          <a:solidFill>
            <a:schemeClr val="tx2">
              <a:lumMod val="10000"/>
              <a:lumOff val="90000"/>
            </a:schemeClr>
          </a:solidFill>
          <a:ln w="19050">
            <a:noFill/>
          </a:ln>
        </p:spPr>
        <p:txBody>
          <a:bodyPr wrap="square" lIns="0" tIns="91440" rIns="0" bIns="548640" anchor="b">
            <a:noAutofit/>
          </a:bodyPr>
          <a:lstStyle>
            <a:lvl1pPr algn="ctr" rtl="0">
              <a:buNone/>
              <a:defRPr sz="1467">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9"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10108496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GPSST0090">
    <p:spTree>
      <p:nvGrpSpPr>
        <p:cNvPr id="1" name=""/>
        <p:cNvGrpSpPr/>
        <p:nvPr/>
      </p:nvGrpSpPr>
      <p:grpSpPr>
        <a:xfrm>
          <a:off x="0" y="0"/>
          <a:ext cx="0" cy="0"/>
          <a:chOff x="0" y="0"/>
          <a:chExt cx="0" cy="0"/>
        </a:xfrm>
      </p:grpSpPr>
      <p:sp>
        <p:nvSpPr>
          <p:cNvPr id="8" name="Picture Placeholder 7"/>
          <p:cNvSpPr>
            <a:spLocks noGrp="1"/>
          </p:cNvSpPr>
          <p:nvPr>
            <p:ph type="pic" sz="quarter" idx="11" hasCustomPrompt="1"/>
          </p:nvPr>
        </p:nvSpPr>
        <p:spPr>
          <a:xfrm>
            <a:off x="6436892" y="2132955"/>
            <a:ext cx="5267563" cy="3024328"/>
          </a:xfrm>
          <a:custGeom>
            <a:avLst/>
            <a:gdLst>
              <a:gd name="connsiteX0" fmla="*/ 0 w 3950672"/>
              <a:gd name="connsiteY0" fmla="*/ 0 h 2268246"/>
              <a:gd name="connsiteX1" fmla="*/ 3950672 w 3950672"/>
              <a:gd name="connsiteY1" fmla="*/ 0 h 2268246"/>
              <a:gd name="connsiteX2" fmla="*/ 3950672 w 3950672"/>
              <a:gd name="connsiteY2" fmla="*/ 2268246 h 2268246"/>
              <a:gd name="connsiteX3" fmla="*/ 0 w 3950672"/>
              <a:gd name="connsiteY3" fmla="*/ 2268246 h 2268246"/>
            </a:gdLst>
            <a:ahLst/>
            <a:cxnLst>
              <a:cxn ang="0">
                <a:pos x="connsiteX0" y="connsiteY0"/>
              </a:cxn>
              <a:cxn ang="0">
                <a:pos x="connsiteX1" y="connsiteY1"/>
              </a:cxn>
              <a:cxn ang="0">
                <a:pos x="connsiteX2" y="connsiteY2"/>
              </a:cxn>
              <a:cxn ang="0">
                <a:pos x="connsiteX3" y="connsiteY3"/>
              </a:cxn>
            </a:cxnLst>
            <a:rect l="l" t="t" r="r" b="b"/>
            <a:pathLst>
              <a:path w="3950672" h="2268246">
                <a:moveTo>
                  <a:pt x="0" y="0"/>
                </a:moveTo>
                <a:lnTo>
                  <a:pt x="3950672" y="0"/>
                </a:lnTo>
                <a:lnTo>
                  <a:pt x="3950672" y="2268246"/>
                </a:lnTo>
                <a:lnTo>
                  <a:pt x="0" y="2268246"/>
                </a:lnTo>
                <a:close/>
              </a:path>
            </a:pathLst>
          </a:custGeom>
          <a:solidFill>
            <a:schemeClr val="tx2">
              <a:lumMod val="10000"/>
              <a:lumOff val="90000"/>
            </a:schemeClr>
          </a:solidFill>
          <a:ln w="19050">
            <a:noFill/>
          </a:ln>
        </p:spPr>
        <p:txBody>
          <a:bodyPr wrap="square" lIns="0" tIns="0" rIns="0" bIns="274320" anchor="b">
            <a:noAutofit/>
          </a:bodyPr>
          <a:lstStyle>
            <a:lvl1pPr algn="ctr" rtl="0">
              <a:buNone/>
              <a:defRPr sz="1467">
                <a:solidFill>
                  <a:schemeClr val="tx1">
                    <a:lumMod val="75000"/>
                    <a:lumOff val="25000"/>
                  </a:schemeClr>
                </a:solidFill>
              </a:defRPr>
            </a:lvl1pPr>
          </a:lstStyle>
          <a:p>
            <a:r>
              <a:rPr lang="en-US"/>
              <a:t>Image Holder</a:t>
            </a:r>
          </a:p>
        </p:txBody>
      </p:sp>
      <p:sp>
        <p:nvSpPr>
          <p:cNvPr id="7" name="Text Placeholder 3"/>
          <p:cNvSpPr>
            <a:spLocks noGrp="1"/>
          </p:cNvSpPr>
          <p:nvPr>
            <p:ph type="body" sz="half" idx="2" hasCustomPrompt="1"/>
          </p:nvPr>
        </p:nvSpPr>
        <p:spPr>
          <a:xfrm>
            <a:off x="517091" y="1178427"/>
            <a:ext cx="11157819" cy="231007"/>
          </a:xfrm>
          <a:prstGeom prst="rect">
            <a:avLst/>
          </a:prstGeom>
        </p:spPr>
        <p:txBody>
          <a:bodyPr wrap="none" lIns="0" tIns="0" rIns="0" bIns="0" anchor="ctr">
            <a:noAutofit/>
          </a:bodyPr>
          <a:lstStyle>
            <a:lvl1pPr marL="0" indent="0" algn="l">
              <a:buNone/>
              <a:defRPr sz="1600" b="0" baseline="0">
                <a:solidFill>
                  <a:schemeClr val="bg1">
                    <a:lumMod val="65000"/>
                  </a:schemeClr>
                </a:solidFill>
                <a:latin typeface="+mn-lt"/>
                <a:ea typeface="Roboto" panose="02000000000000000000" pitchFamily="2" charset="0"/>
              </a:defRPr>
            </a:lvl1pPr>
            <a:lvl2pPr marL="609570" indent="0">
              <a:buNone/>
              <a:defRPr sz="1600"/>
            </a:lvl2pPr>
            <a:lvl3pPr marL="1219139" indent="0">
              <a:buNone/>
              <a:defRPr sz="1333"/>
            </a:lvl3pPr>
            <a:lvl4pPr marL="1828709" indent="0">
              <a:buNone/>
              <a:defRPr sz="1200"/>
            </a:lvl4pPr>
            <a:lvl5pPr marL="2438278" indent="0">
              <a:buNone/>
              <a:defRPr sz="1200"/>
            </a:lvl5pPr>
            <a:lvl6pPr marL="3047848" indent="0">
              <a:buNone/>
              <a:defRPr sz="1200"/>
            </a:lvl6pPr>
            <a:lvl7pPr marL="3657417" indent="0">
              <a:buNone/>
              <a:defRPr sz="1200"/>
            </a:lvl7pPr>
            <a:lvl8pPr marL="4266987" indent="0">
              <a:buNone/>
              <a:defRPr sz="1200"/>
            </a:lvl8pPr>
            <a:lvl9pPr marL="4876557" indent="0">
              <a:buNone/>
              <a:defRPr sz="1200"/>
            </a:lvl9pPr>
          </a:lstStyle>
          <a:p>
            <a:pPr lvl="0"/>
            <a:r>
              <a:rPr lang="en-US"/>
              <a:t>CLICK TO EDITE SUBTITLE</a:t>
            </a:r>
          </a:p>
        </p:txBody>
      </p:sp>
      <p:sp>
        <p:nvSpPr>
          <p:cNvPr id="9" name="Title 2"/>
          <p:cNvSpPr>
            <a:spLocks noGrp="1"/>
          </p:cNvSpPr>
          <p:nvPr>
            <p:ph type="title"/>
          </p:nvPr>
        </p:nvSpPr>
        <p:spPr>
          <a:xfrm>
            <a:off x="517091" y="455085"/>
            <a:ext cx="11157819" cy="660511"/>
          </a:xfrm>
          <a:prstGeom prst="rect">
            <a:avLst/>
          </a:prstGeom>
        </p:spPr>
        <p:txBody>
          <a:bodyPr lIns="0" tIns="0" rIns="0" bIns="0" anchor="ctr"/>
          <a:lstStyle>
            <a:lvl1pPr algn="l">
              <a:defRPr sz="4800">
                <a:solidFill>
                  <a:schemeClr val="bg1">
                    <a:lumMod val="50000"/>
                  </a:schemeClr>
                </a:solidFill>
              </a:defRPr>
            </a:lvl1pPr>
          </a:lstStyle>
          <a:p>
            <a:r>
              <a:rPr lang="en-US"/>
              <a:t>Click to edit Master title style</a:t>
            </a:r>
          </a:p>
        </p:txBody>
      </p:sp>
    </p:spTree>
    <p:extLst>
      <p:ext uri="{BB962C8B-B14F-4D97-AF65-F5344CB8AC3E}">
        <p14:creationId xmlns:p14="http://schemas.microsoft.com/office/powerpoint/2010/main" val="11463265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27" name="Picture Placeholder 7"/>
          <p:cNvSpPr>
            <a:spLocks noGrp="1"/>
          </p:cNvSpPr>
          <p:nvPr>
            <p:ph type="pic" sz="quarter" idx="10" hasCustomPrompt="1"/>
          </p:nvPr>
        </p:nvSpPr>
        <p:spPr>
          <a:xfrm>
            <a:off x="0" y="0"/>
            <a:ext cx="12192000" cy="6858000"/>
          </a:xfrm>
          <a:prstGeom prst="rect">
            <a:avLst/>
          </a:prstGeom>
          <a:solidFill>
            <a:schemeClr val="bg1">
              <a:lumMod val="95000"/>
            </a:schemeClr>
          </a:solidFill>
          <a:ln w="19050">
            <a:noFill/>
          </a:ln>
        </p:spPr>
        <p:txBody>
          <a:bodyPr lIns="0" tIns="91440" rIns="0" bIns="2194560" anchor="b"/>
          <a:lstStyle>
            <a:lvl1pPr algn="ctr" rtl="0">
              <a:buNone/>
              <a:defRPr sz="1867">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13708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attern Indigo">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455496908"/>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indent="0" algn="l">
              <a:buNone/>
              <a:defRPr sz="2000" cap="all" baseline="0">
                <a:solidFill>
                  <a:schemeClr val="bg1"/>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71D0B986-2769-C140-A10F-224ADA3E571D}"/>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white text on a black background&#10;&#10;Description automatically generated">
            <a:extLst>
              <a:ext uri="{FF2B5EF4-FFF2-40B4-BE49-F238E27FC236}">
                <a16:creationId xmlns:a16="http://schemas.microsoft.com/office/drawing/2014/main" id="{C3845571-0F95-E624-119F-C5E5062BAC4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5386" y="5786151"/>
            <a:ext cx="2617308" cy="490335"/>
          </a:xfrm>
          <a:prstGeom prst="rect">
            <a:avLst/>
          </a:prstGeom>
        </p:spPr>
      </p:pic>
    </p:spTree>
    <p:extLst>
      <p:ext uri="{BB962C8B-B14F-4D97-AF65-F5344CB8AC3E}">
        <p14:creationId xmlns:p14="http://schemas.microsoft.com/office/powerpoint/2010/main" val="39084946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_2/3 Content Image">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AB99281C-506E-7D4F-8F77-F36D56BCCD1A}"/>
              </a:ext>
            </a:extLst>
          </p:cNvPr>
          <p:cNvSpPr>
            <a:spLocks noGrp="1"/>
          </p:cNvSpPr>
          <p:nvPr>
            <p:ph type="pic" sz="quarter" idx="12"/>
          </p:nvPr>
        </p:nvSpPr>
        <p:spPr>
          <a:xfrm>
            <a:off x="7819024" y="0"/>
            <a:ext cx="4372975" cy="6858000"/>
          </a:xfrm>
          <a:solidFill>
            <a:schemeClr val="bg1">
              <a:lumMod val="95000"/>
            </a:schemeClr>
          </a:solidFill>
        </p:spPr>
        <p:txBody>
          <a:bodyPr/>
          <a:lstStyle>
            <a:lvl1pPr>
              <a:defRPr sz="1200">
                <a:solidFill>
                  <a:srgbClr val="F2342F"/>
                </a:solidFill>
              </a:defRPr>
            </a:lvl1pPr>
          </a:lstStyle>
          <a:p>
            <a:r>
              <a:rPr lang="en-US"/>
              <a:t>Click icon to add picture</a:t>
            </a:r>
          </a:p>
        </p:txBody>
      </p:sp>
      <p:sp>
        <p:nvSpPr>
          <p:cNvPr id="2" name="Title 1">
            <a:extLst>
              <a:ext uri="{FF2B5EF4-FFF2-40B4-BE49-F238E27FC236}">
                <a16:creationId xmlns:a16="http://schemas.microsoft.com/office/drawing/2014/main" id="{317E0EB7-861F-BD4E-92FF-B3E1749346E9}"/>
              </a:ext>
            </a:extLst>
          </p:cNvPr>
          <p:cNvSpPr>
            <a:spLocks noGrp="1"/>
          </p:cNvSpPr>
          <p:nvPr>
            <p:ph type="title" hasCustomPrompt="1"/>
          </p:nvPr>
        </p:nvSpPr>
        <p:spPr>
          <a:xfrm>
            <a:off x="457200" y="406048"/>
            <a:ext cx="6891926" cy="1051876"/>
          </a:xfrm>
        </p:spPr>
        <p:txBody>
          <a:bodyPr vert="horz"/>
          <a:lstStyle/>
          <a:p>
            <a:r>
              <a:rPr lang="en-US"/>
              <a:t>Click to edit master title style</a:t>
            </a:r>
          </a:p>
        </p:txBody>
      </p:sp>
      <p:sp>
        <p:nvSpPr>
          <p:cNvPr id="8" name="Text Placeholder 7">
            <a:extLst>
              <a:ext uri="{FF2B5EF4-FFF2-40B4-BE49-F238E27FC236}">
                <a16:creationId xmlns:a16="http://schemas.microsoft.com/office/drawing/2014/main" id="{D4DFF430-94BC-E943-BC0F-8124995AFC8D}"/>
              </a:ext>
            </a:extLst>
          </p:cNvPr>
          <p:cNvSpPr>
            <a:spLocks noGrp="1"/>
          </p:cNvSpPr>
          <p:nvPr>
            <p:ph type="body" sz="quarter" idx="10" hasCustomPrompt="1"/>
          </p:nvPr>
        </p:nvSpPr>
        <p:spPr>
          <a:xfrm>
            <a:off x="457199" y="1737360"/>
            <a:ext cx="6891926" cy="4425696"/>
          </a:xfrm>
        </p:spPr>
        <p:txBody>
          <a:body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F5829F0C-E0C9-8E48-91C6-A41875A5B79F}"/>
              </a:ext>
            </a:extLst>
          </p:cNvPr>
          <p:cNvSpPr>
            <a:spLocks noGrp="1"/>
          </p:cNvSpPr>
          <p:nvPr>
            <p:ph type="body" sz="half" idx="11" hasCustomPrompt="1"/>
          </p:nvPr>
        </p:nvSpPr>
        <p:spPr>
          <a:xfrm>
            <a:off x="3903072" y="6336856"/>
            <a:ext cx="3446053" cy="319707"/>
          </a:xfrm>
        </p:spPr>
        <p:txBody>
          <a:bodyPr anchor="b"/>
          <a:lstStyle>
            <a:lvl1pPr marL="0" indent="0" algn="r">
              <a:buNone/>
              <a:defRPr sz="10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footnote/source</a:t>
            </a:r>
          </a:p>
        </p:txBody>
      </p:sp>
    </p:spTree>
    <p:extLst>
      <p:ext uri="{BB962C8B-B14F-4D97-AF65-F5344CB8AC3E}">
        <p14:creationId xmlns:p14="http://schemas.microsoft.com/office/powerpoint/2010/main" val="403434779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attern Manill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2260418757"/>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5"/>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7" y="2087355"/>
            <a:ext cx="10207625" cy="2560320"/>
          </a:xfrm>
        </p:spPr>
        <p:txBody>
          <a:bodyPr vert="horz" anchor="t"/>
          <a:lstStyle>
            <a:lvl1pPr algn="l">
              <a:lnSpc>
                <a:spcPct val="88000"/>
              </a:lnSpc>
              <a:defRPr sz="60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5" y="1683100"/>
            <a:ext cx="10207624" cy="347499"/>
          </a:xfrm>
        </p:spPr>
        <p:txBody>
          <a:bodyPr/>
          <a:lstStyle>
            <a:lvl1pPr marL="0" indent="0" algn="l">
              <a:buNone/>
              <a:defRPr sz="2000" cap="all" baseline="0">
                <a:solidFill>
                  <a:srgbClr val="7583FF"/>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7" name="Rectangle 6">
            <a:extLst>
              <a:ext uri="{FF2B5EF4-FFF2-40B4-BE49-F238E27FC236}">
                <a16:creationId xmlns:a16="http://schemas.microsoft.com/office/drawing/2014/main" id="{9035812B-A8D7-C54B-B831-03311DAD52D8}"/>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purple letters on a black background&#10;&#10;Description automatically generated">
            <a:extLst>
              <a:ext uri="{FF2B5EF4-FFF2-40B4-BE49-F238E27FC236}">
                <a16:creationId xmlns:a16="http://schemas.microsoft.com/office/drawing/2014/main" id="{E8026987-2898-E904-9712-5EA1CFB2B5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0376" y="5785213"/>
            <a:ext cx="2622317" cy="491273"/>
          </a:xfrm>
          <a:prstGeom prst="rect">
            <a:avLst/>
          </a:prstGeom>
        </p:spPr>
      </p:pic>
    </p:spTree>
    <p:extLst>
      <p:ext uri="{BB962C8B-B14F-4D97-AF65-F5344CB8AC3E}">
        <p14:creationId xmlns:p14="http://schemas.microsoft.com/office/powerpoint/2010/main" val="2216918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1 Image">
    <p:bg>
      <p:bgPr>
        <a:solidFill>
          <a:srgbClr val="FFF8DE"/>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373067843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6" y="2087355"/>
            <a:ext cx="5057997" cy="2560320"/>
          </a:xfrm>
        </p:spPr>
        <p:txBody>
          <a:bodyPr vert="horz" anchor="t"/>
          <a:lstStyle>
            <a:lvl1pPr algn="l">
              <a:lnSpc>
                <a:spcPct val="88000"/>
              </a:lnSpc>
              <a:defRPr sz="60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6" y="1683100"/>
            <a:ext cx="5057997" cy="347499"/>
          </a:xfrm>
        </p:spPr>
        <p:txBody>
          <a:bodyPr/>
          <a:lstStyle>
            <a:lvl1pPr marL="0" indent="0" algn="l">
              <a:buNone/>
              <a:defRPr sz="2000" cap="all" baseline="0">
                <a:solidFill>
                  <a:srgbClr val="7583FF"/>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8" name="Picture Placeholder 7">
            <a:extLst>
              <a:ext uri="{FF2B5EF4-FFF2-40B4-BE49-F238E27FC236}">
                <a16:creationId xmlns:a16="http://schemas.microsoft.com/office/drawing/2014/main" id="{76043775-87D2-BB43-895F-C7D3C2289EFB}"/>
              </a:ext>
            </a:extLst>
          </p:cNvPr>
          <p:cNvSpPr>
            <a:spLocks noGrp="1"/>
          </p:cNvSpPr>
          <p:nvPr>
            <p:ph type="pic" sz="quarter" idx="10"/>
          </p:nvPr>
        </p:nvSpPr>
        <p:spPr>
          <a:xfrm>
            <a:off x="6096000" y="0"/>
            <a:ext cx="6096000" cy="6629400"/>
          </a:xfrm>
        </p:spPr>
        <p:txBody>
          <a:bodyPr/>
          <a:lstStyle>
            <a:lvl1pPr>
              <a:defRPr sz="1200">
                <a:solidFill>
                  <a:srgbClr val="F2342F"/>
                </a:solidFill>
              </a:defRPr>
            </a:lvl1pPr>
          </a:lstStyle>
          <a:p>
            <a:r>
              <a:rPr lang="en-US"/>
              <a:t>Click icon to add picture</a:t>
            </a:r>
          </a:p>
        </p:txBody>
      </p:sp>
      <p:sp>
        <p:nvSpPr>
          <p:cNvPr id="9" name="Rectangle 8">
            <a:extLst>
              <a:ext uri="{FF2B5EF4-FFF2-40B4-BE49-F238E27FC236}">
                <a16:creationId xmlns:a16="http://schemas.microsoft.com/office/drawing/2014/main" id="{F152E50B-8144-8E43-AE35-3A4CD4E4D6BC}"/>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purple letters on a black background&#10;&#10;Description automatically generated">
            <a:extLst>
              <a:ext uri="{FF2B5EF4-FFF2-40B4-BE49-F238E27FC236}">
                <a16:creationId xmlns:a16="http://schemas.microsoft.com/office/drawing/2014/main" id="{932AF13D-D813-CAB1-AD5E-7E7E11B833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5785213"/>
            <a:ext cx="2622317" cy="491273"/>
          </a:xfrm>
          <a:prstGeom prst="rect">
            <a:avLst/>
          </a:prstGeom>
        </p:spPr>
      </p:pic>
    </p:spTree>
    <p:extLst>
      <p:ext uri="{BB962C8B-B14F-4D97-AF65-F5344CB8AC3E}">
        <p14:creationId xmlns:p14="http://schemas.microsoft.com/office/powerpoint/2010/main" val="29464523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2 Images">
    <p:bg>
      <p:bgPr>
        <a:solidFill>
          <a:srgbClr val="FFF8DE"/>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3730678433"/>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6" y="2087355"/>
            <a:ext cx="5057997" cy="2560320"/>
          </a:xfrm>
        </p:spPr>
        <p:txBody>
          <a:bodyPr vert="horz" anchor="t"/>
          <a:lstStyle>
            <a:lvl1pPr algn="l">
              <a:lnSpc>
                <a:spcPct val="88000"/>
              </a:lnSpc>
              <a:defRPr sz="60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6" y="1683100"/>
            <a:ext cx="5057997" cy="347499"/>
          </a:xfrm>
        </p:spPr>
        <p:txBody>
          <a:bodyPr/>
          <a:lstStyle>
            <a:lvl1pPr marL="0" indent="0" algn="l">
              <a:buNone/>
              <a:defRPr sz="2000" cap="all" baseline="0">
                <a:solidFill>
                  <a:srgbClr val="7583FF"/>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8" name="Picture Placeholder 7">
            <a:extLst>
              <a:ext uri="{FF2B5EF4-FFF2-40B4-BE49-F238E27FC236}">
                <a16:creationId xmlns:a16="http://schemas.microsoft.com/office/drawing/2014/main" id="{76043775-87D2-BB43-895F-C7D3C2289EFB}"/>
              </a:ext>
            </a:extLst>
          </p:cNvPr>
          <p:cNvSpPr>
            <a:spLocks noGrp="1"/>
          </p:cNvSpPr>
          <p:nvPr>
            <p:ph type="pic" sz="quarter" idx="10"/>
          </p:nvPr>
        </p:nvSpPr>
        <p:spPr>
          <a:xfrm>
            <a:off x="6096000" y="1"/>
            <a:ext cx="6096000" cy="4464895"/>
          </a:xfrm>
        </p:spPr>
        <p:txBody>
          <a:bodyPr/>
          <a:lstStyle>
            <a:lvl1pPr>
              <a:defRPr sz="1200">
                <a:solidFill>
                  <a:srgbClr val="F2342F"/>
                </a:solidFill>
              </a:defRPr>
            </a:lvl1pPr>
          </a:lstStyle>
          <a:p>
            <a:r>
              <a:rPr lang="en-US"/>
              <a:t>Click icon to add picture</a:t>
            </a:r>
          </a:p>
        </p:txBody>
      </p:sp>
      <p:sp>
        <p:nvSpPr>
          <p:cNvPr id="11" name="Picture Placeholder 7">
            <a:extLst>
              <a:ext uri="{FF2B5EF4-FFF2-40B4-BE49-F238E27FC236}">
                <a16:creationId xmlns:a16="http://schemas.microsoft.com/office/drawing/2014/main" id="{D8BC0759-714C-0B4A-A4B8-5753135F7F28}"/>
              </a:ext>
            </a:extLst>
          </p:cNvPr>
          <p:cNvSpPr>
            <a:spLocks noGrp="1"/>
          </p:cNvSpPr>
          <p:nvPr>
            <p:ph type="pic" sz="quarter" idx="11"/>
          </p:nvPr>
        </p:nvSpPr>
        <p:spPr>
          <a:xfrm>
            <a:off x="6096000" y="4693493"/>
            <a:ext cx="6096000" cy="1935907"/>
          </a:xfrm>
        </p:spPr>
        <p:txBody>
          <a:bodyPr/>
          <a:lstStyle>
            <a:lvl1pPr>
              <a:defRPr sz="1200">
                <a:solidFill>
                  <a:srgbClr val="F2342F"/>
                </a:solidFill>
              </a:defRPr>
            </a:lvl1pPr>
          </a:lstStyle>
          <a:p>
            <a:r>
              <a:rPr lang="en-US"/>
              <a:t>Click icon to add picture</a:t>
            </a:r>
          </a:p>
        </p:txBody>
      </p:sp>
      <p:sp>
        <p:nvSpPr>
          <p:cNvPr id="9" name="Rectangle 8">
            <a:extLst>
              <a:ext uri="{FF2B5EF4-FFF2-40B4-BE49-F238E27FC236}">
                <a16:creationId xmlns:a16="http://schemas.microsoft.com/office/drawing/2014/main" id="{F8BB7974-0BDA-1348-8CF6-FD2FAAF491A2}"/>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A purple letters on a black background&#10;&#10;Description automatically generated">
            <a:extLst>
              <a:ext uri="{FF2B5EF4-FFF2-40B4-BE49-F238E27FC236}">
                <a16:creationId xmlns:a16="http://schemas.microsoft.com/office/drawing/2014/main" id="{4D378A1B-AE35-2D93-EBAC-7D2420577F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5785213"/>
            <a:ext cx="2622317" cy="491273"/>
          </a:xfrm>
          <a:prstGeom prst="rect">
            <a:avLst/>
          </a:prstGeom>
        </p:spPr>
      </p:pic>
    </p:spTree>
    <p:extLst>
      <p:ext uri="{BB962C8B-B14F-4D97-AF65-F5344CB8AC3E}">
        <p14:creationId xmlns:p14="http://schemas.microsoft.com/office/powerpoint/2010/main" val="2854707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3 Images">
    <p:bg>
      <p:bgPr>
        <a:solidFill>
          <a:srgbClr val="FFF8DE"/>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54F702-615D-CB46-983C-409AB8266FE1}"/>
              </a:ext>
            </a:extLst>
          </p:cNvPr>
          <p:cNvGraphicFramePr>
            <a:graphicFrameLocks noChangeAspect="1"/>
          </p:cNvGraphicFramePr>
          <p:nvPr>
            <p:custDataLst>
              <p:tags r:id="rId1"/>
            </p:custDataLst>
            <p:extLst>
              <p:ext uri="{D42A27DB-BD31-4B8C-83A1-F6EECF244321}">
                <p14:modId xmlns:p14="http://schemas.microsoft.com/office/powerpoint/2010/main" val="607775522"/>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9554F702-615D-CB46-983C-409AB8266FE1}"/>
                          </a:ext>
                        </a:extLst>
                      </p:cNvPr>
                      <p:cNvPicPr/>
                      <p:nvPr/>
                    </p:nvPicPr>
                    <p:blipFill>
                      <a:blip r:embed="rId4"/>
                      <a:stretch>
                        <a:fillRect/>
                      </a:stretch>
                    </p:blipFill>
                    <p:spPr>
                      <a:xfrm>
                        <a:off x="1589" y="1589"/>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690119-E948-4FAB-9020-5BEC3523B9F7}"/>
              </a:ext>
            </a:extLst>
          </p:cNvPr>
          <p:cNvSpPr>
            <a:spLocks noGrp="1"/>
          </p:cNvSpPr>
          <p:nvPr>
            <p:ph type="ctrTitle" hasCustomPrompt="1"/>
          </p:nvPr>
        </p:nvSpPr>
        <p:spPr>
          <a:xfrm>
            <a:off x="460376" y="2087355"/>
            <a:ext cx="5057997" cy="2560320"/>
          </a:xfrm>
        </p:spPr>
        <p:txBody>
          <a:bodyPr vert="horz" anchor="t"/>
          <a:lstStyle>
            <a:lvl1pPr algn="l">
              <a:lnSpc>
                <a:spcPct val="88000"/>
              </a:lnSpc>
              <a:defRPr sz="600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512EB1C7-E842-4C11-80A7-E1C5E6B4BF3E}"/>
              </a:ext>
            </a:extLst>
          </p:cNvPr>
          <p:cNvSpPr>
            <a:spLocks noGrp="1"/>
          </p:cNvSpPr>
          <p:nvPr>
            <p:ph type="subTitle" idx="1" hasCustomPrompt="1"/>
          </p:nvPr>
        </p:nvSpPr>
        <p:spPr>
          <a:xfrm>
            <a:off x="460376" y="1683100"/>
            <a:ext cx="5057997" cy="347499"/>
          </a:xfrm>
        </p:spPr>
        <p:txBody>
          <a:bodyPr/>
          <a:lstStyle>
            <a:lvl1pPr marL="0" indent="0" algn="l">
              <a:buNone/>
              <a:defRPr sz="2000" cap="all" baseline="0">
                <a:solidFill>
                  <a:srgbClr val="7583FF"/>
                </a:solidFill>
                <a:latin typeface="Impact" panose="020B080603090205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MONTH X, 20XX</a:t>
            </a:r>
          </a:p>
        </p:txBody>
      </p:sp>
      <p:sp>
        <p:nvSpPr>
          <p:cNvPr id="33" name="Rectangle 32">
            <a:extLst>
              <a:ext uri="{FF2B5EF4-FFF2-40B4-BE49-F238E27FC236}">
                <a16:creationId xmlns:a16="http://schemas.microsoft.com/office/drawing/2014/main" id="{7F09B582-29A4-9842-8A43-BCB8E46AD309}"/>
              </a:ext>
            </a:extLst>
          </p:cNvPr>
          <p:cNvSpPr/>
          <p:nvPr/>
        </p:nvSpPr>
        <p:spPr>
          <a:xfrm>
            <a:off x="0" y="6629400"/>
            <a:ext cx="12192000" cy="228600"/>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Picture Placeholder 7">
            <a:extLst>
              <a:ext uri="{FF2B5EF4-FFF2-40B4-BE49-F238E27FC236}">
                <a16:creationId xmlns:a16="http://schemas.microsoft.com/office/drawing/2014/main" id="{76043775-87D2-BB43-895F-C7D3C2289EFB}"/>
              </a:ext>
            </a:extLst>
          </p:cNvPr>
          <p:cNvSpPr>
            <a:spLocks noGrp="1"/>
          </p:cNvSpPr>
          <p:nvPr>
            <p:ph type="pic" sz="quarter" idx="10"/>
          </p:nvPr>
        </p:nvSpPr>
        <p:spPr>
          <a:xfrm>
            <a:off x="6096000" y="1"/>
            <a:ext cx="3911245" cy="4464895"/>
          </a:xfrm>
        </p:spPr>
        <p:txBody>
          <a:bodyPr/>
          <a:lstStyle>
            <a:lvl1pPr>
              <a:defRPr sz="1200">
                <a:solidFill>
                  <a:srgbClr val="F2342F"/>
                </a:solidFill>
              </a:defRPr>
            </a:lvl1pPr>
          </a:lstStyle>
          <a:p>
            <a:r>
              <a:rPr lang="en-US"/>
              <a:t>Click icon to add picture</a:t>
            </a:r>
          </a:p>
        </p:txBody>
      </p:sp>
      <p:sp>
        <p:nvSpPr>
          <p:cNvPr id="11" name="Picture Placeholder 7">
            <a:extLst>
              <a:ext uri="{FF2B5EF4-FFF2-40B4-BE49-F238E27FC236}">
                <a16:creationId xmlns:a16="http://schemas.microsoft.com/office/drawing/2014/main" id="{D8BC0759-714C-0B4A-A4B8-5753135F7F28}"/>
              </a:ext>
            </a:extLst>
          </p:cNvPr>
          <p:cNvSpPr>
            <a:spLocks noGrp="1"/>
          </p:cNvSpPr>
          <p:nvPr>
            <p:ph type="pic" sz="quarter" idx="11"/>
          </p:nvPr>
        </p:nvSpPr>
        <p:spPr>
          <a:xfrm>
            <a:off x="6096000" y="4693493"/>
            <a:ext cx="6096000" cy="1935907"/>
          </a:xfrm>
        </p:spPr>
        <p:txBody>
          <a:bodyPr/>
          <a:lstStyle>
            <a:lvl1pPr>
              <a:defRPr sz="1200">
                <a:solidFill>
                  <a:srgbClr val="F2342F"/>
                </a:solidFill>
              </a:defRPr>
            </a:lvl1pPr>
          </a:lstStyle>
          <a:p>
            <a:r>
              <a:rPr lang="en-US"/>
              <a:t>Click icon to add picture</a:t>
            </a:r>
          </a:p>
        </p:txBody>
      </p:sp>
      <p:sp>
        <p:nvSpPr>
          <p:cNvPr id="12" name="Picture Placeholder 7">
            <a:extLst>
              <a:ext uri="{FF2B5EF4-FFF2-40B4-BE49-F238E27FC236}">
                <a16:creationId xmlns:a16="http://schemas.microsoft.com/office/drawing/2014/main" id="{DAEF1621-80DD-EF4F-AC4D-B55964807A6D}"/>
              </a:ext>
            </a:extLst>
          </p:cNvPr>
          <p:cNvSpPr>
            <a:spLocks noGrp="1"/>
          </p:cNvSpPr>
          <p:nvPr>
            <p:ph type="pic" sz="quarter" idx="12"/>
          </p:nvPr>
        </p:nvSpPr>
        <p:spPr>
          <a:xfrm>
            <a:off x="10231050" y="1"/>
            <a:ext cx="1960951" cy="4464895"/>
          </a:xfrm>
        </p:spPr>
        <p:txBody>
          <a:bodyPr/>
          <a:lstStyle>
            <a:lvl1pPr>
              <a:defRPr sz="1200">
                <a:solidFill>
                  <a:srgbClr val="F2342F"/>
                </a:solidFill>
              </a:defRPr>
            </a:lvl1pPr>
          </a:lstStyle>
          <a:p>
            <a:r>
              <a:rPr lang="en-US"/>
              <a:t>Click icon to add picture</a:t>
            </a:r>
          </a:p>
        </p:txBody>
      </p:sp>
      <p:pic>
        <p:nvPicPr>
          <p:cNvPr id="6" name="Picture 5" descr="A purple letters on a black background&#10;&#10;Description automatically generated">
            <a:extLst>
              <a:ext uri="{FF2B5EF4-FFF2-40B4-BE49-F238E27FC236}">
                <a16:creationId xmlns:a16="http://schemas.microsoft.com/office/drawing/2014/main" id="{064AE3E1-E8ED-B294-7357-A9D9539415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376" y="5785213"/>
            <a:ext cx="2622317" cy="491273"/>
          </a:xfrm>
          <a:prstGeom prst="rect">
            <a:avLst/>
          </a:prstGeom>
        </p:spPr>
      </p:pic>
    </p:spTree>
    <p:extLst>
      <p:ext uri="{BB962C8B-B14F-4D97-AF65-F5344CB8AC3E}">
        <p14:creationId xmlns:p14="http://schemas.microsoft.com/office/powerpoint/2010/main" val="271093045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8.svg"/><Relationship Id="rId2" Type="http://schemas.openxmlformats.org/officeDocument/2006/relationships/theme" Target="../theme/theme2.xml"/><Relationship Id="rId1" Type="http://schemas.openxmlformats.org/officeDocument/2006/relationships/slideLayout" Target="../slideLayouts/slideLayout5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6417AC-B608-B041-A22C-ED860958098D}"/>
              </a:ext>
            </a:extLst>
          </p:cNvPr>
          <p:cNvGraphicFramePr>
            <a:graphicFrameLocks noChangeAspect="1"/>
          </p:cNvGraphicFramePr>
          <p:nvPr>
            <p:custDataLst>
              <p:tags r:id="rId51"/>
            </p:custDataLst>
            <p:extLst>
              <p:ext uri="{D42A27DB-BD31-4B8C-83A1-F6EECF244321}">
                <p14:modId xmlns:p14="http://schemas.microsoft.com/office/powerpoint/2010/main" val="2501412606"/>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52" imgW="7772400" imgH="10058400" progId="TCLayout.ActiveDocument.1">
                  <p:embed/>
                </p:oleObj>
              </mc:Choice>
              <mc:Fallback>
                <p:oleObj name="think-cell Slide" r:id="rId52" imgW="7772400" imgH="10058400" progId="TCLayout.ActiveDocument.1">
                  <p:embed/>
                  <p:pic>
                    <p:nvPicPr>
                      <p:cNvPr id="8" name="Object 7" hidden="1">
                        <a:extLst>
                          <a:ext uri="{FF2B5EF4-FFF2-40B4-BE49-F238E27FC236}">
                            <a16:creationId xmlns:a16="http://schemas.microsoft.com/office/drawing/2014/main" id="{186417AC-B608-B041-A22C-ED860958098D}"/>
                          </a:ext>
                        </a:extLst>
                      </p:cNvPr>
                      <p:cNvPicPr/>
                      <p:nvPr/>
                    </p:nvPicPr>
                    <p:blipFill>
                      <a:blip r:embed="rId53"/>
                      <a:stretch>
                        <a:fillRect/>
                      </a:stretch>
                    </p:blipFill>
                    <p:spPr>
                      <a:xfrm>
                        <a:off x="1589" y="1589"/>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A4DF1C0-35D6-4E4C-8E88-7B0ADD3A3ED4}"/>
              </a:ext>
            </a:extLst>
          </p:cNvPr>
          <p:cNvSpPr>
            <a:spLocks noGrp="1"/>
          </p:cNvSpPr>
          <p:nvPr>
            <p:ph type="title"/>
          </p:nvPr>
        </p:nvSpPr>
        <p:spPr>
          <a:xfrm>
            <a:off x="457201" y="406049"/>
            <a:ext cx="11277601" cy="1051876"/>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1A64AAE-C1E0-4DAB-ACD2-5A0797EDD41D}"/>
              </a:ext>
            </a:extLst>
          </p:cNvPr>
          <p:cNvSpPr>
            <a:spLocks noGrp="1"/>
          </p:cNvSpPr>
          <p:nvPr>
            <p:ph type="body" idx="1"/>
          </p:nvPr>
        </p:nvSpPr>
        <p:spPr>
          <a:xfrm>
            <a:off x="457201" y="1737361"/>
            <a:ext cx="11277599" cy="44243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Box 28">
            <a:extLst>
              <a:ext uri="{FF2B5EF4-FFF2-40B4-BE49-F238E27FC236}">
                <a16:creationId xmlns:a16="http://schemas.microsoft.com/office/drawing/2014/main" id="{A254F91D-7436-2B4A-8CA6-E6C9445F41F5}"/>
              </a:ext>
            </a:extLst>
          </p:cNvPr>
          <p:cNvSpPr txBox="1"/>
          <p:nvPr/>
        </p:nvSpPr>
        <p:spPr>
          <a:xfrm>
            <a:off x="11547247" y="6479523"/>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dirty="0">
              <a:solidFill>
                <a:schemeClr val="tx1"/>
              </a:solidFill>
            </a:endParaRPr>
          </a:p>
        </p:txBody>
      </p:sp>
      <p:pic>
        <p:nvPicPr>
          <p:cNvPr id="7" name="Picture 6" descr="A purple letters on a black background&#10;&#10;Description automatically generated">
            <a:extLst>
              <a:ext uri="{FF2B5EF4-FFF2-40B4-BE49-F238E27FC236}">
                <a16:creationId xmlns:a16="http://schemas.microsoft.com/office/drawing/2014/main" id="{ECE06D84-D3B9-8E57-8856-35AED77D9596}"/>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57200" y="6386184"/>
            <a:ext cx="1540003" cy="288509"/>
          </a:xfrm>
          <a:prstGeom prst="rect">
            <a:avLst/>
          </a:prstGeom>
        </p:spPr>
      </p:pic>
    </p:spTree>
    <p:extLst>
      <p:ext uri="{BB962C8B-B14F-4D97-AF65-F5344CB8AC3E}">
        <p14:creationId xmlns:p14="http://schemas.microsoft.com/office/powerpoint/2010/main" val="253020594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Lst>
  <p:txStyles>
    <p:titleStyle>
      <a:lvl1pPr algn="l" defTabSz="914377"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
          <p15:clr>
            <a:srgbClr val="F26B43"/>
          </p15:clr>
        </p15:guide>
        <p15:guide id="2" pos="290">
          <p15:clr>
            <a:srgbClr val="F26B43"/>
          </p15:clr>
        </p15:guide>
        <p15:guide id="3" pos="7392">
          <p15:clr>
            <a:srgbClr val="F26B43"/>
          </p15:clr>
        </p15:guide>
        <p15:guide id="4" orient="horz" pos="4177">
          <p15:clr>
            <a:srgbClr val="F26B43"/>
          </p15:clr>
        </p15:guide>
        <p15:guide id="5" orient="horz" pos="1092">
          <p15:clr>
            <a:srgbClr val="F26B43"/>
          </p15:clr>
        </p15:guide>
        <p15:guide id="6" orient="horz" pos="38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6417AC-B608-B041-A22C-ED860958098D}"/>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186417AC-B608-B041-A22C-ED860958098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A4DF1C0-35D6-4E4C-8E88-7B0ADD3A3ED4}"/>
              </a:ext>
            </a:extLst>
          </p:cNvPr>
          <p:cNvSpPr>
            <a:spLocks noGrp="1"/>
          </p:cNvSpPr>
          <p:nvPr>
            <p:ph type="title"/>
          </p:nvPr>
        </p:nvSpPr>
        <p:spPr>
          <a:xfrm>
            <a:off x="457199" y="406048"/>
            <a:ext cx="11277601" cy="1051876"/>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B1A64AAE-C1E0-4DAB-ACD2-5A0797EDD41D}"/>
              </a:ext>
            </a:extLst>
          </p:cNvPr>
          <p:cNvSpPr>
            <a:spLocks noGrp="1"/>
          </p:cNvSpPr>
          <p:nvPr>
            <p:ph type="body" idx="1"/>
          </p:nvPr>
        </p:nvSpPr>
        <p:spPr>
          <a:xfrm>
            <a:off x="457199" y="1737360"/>
            <a:ext cx="11277599" cy="44243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Box 28">
            <a:extLst>
              <a:ext uri="{FF2B5EF4-FFF2-40B4-BE49-F238E27FC236}">
                <a16:creationId xmlns:a16="http://schemas.microsoft.com/office/drawing/2014/main" id="{A254F91D-7436-2B4A-8CA6-E6C9445F41F5}"/>
              </a:ext>
            </a:extLst>
          </p:cNvPr>
          <p:cNvSpPr txBox="1"/>
          <p:nvPr/>
        </p:nvSpPr>
        <p:spPr>
          <a:xfrm>
            <a:off x="11547246" y="6479523"/>
            <a:ext cx="187552" cy="184666"/>
          </a:xfrm>
          <a:prstGeom prst="rect">
            <a:avLst/>
          </a:prstGeom>
          <a:noFill/>
        </p:spPr>
        <p:txBody>
          <a:bodyPr wrap="none" lIns="0" tIns="0" rIns="0" bIns="0" rtlCol="0">
            <a:spAutoFit/>
          </a:bodyPr>
          <a:lstStyle/>
          <a:p>
            <a:pPr algn="r"/>
            <a:fld id="{5448E94D-2A9F-764B-AFAC-DB429AD3DF32}" type="slidenum">
              <a:rPr lang="en-US" sz="1200" smtClean="0">
                <a:solidFill>
                  <a:schemeClr val="tx1"/>
                </a:solidFill>
              </a:rPr>
              <a:pPr algn="r"/>
              <a:t>‹#›</a:t>
            </a:fld>
            <a:endParaRPr lang="en-US" sz="1200">
              <a:solidFill>
                <a:schemeClr val="tx1"/>
              </a:solidFill>
            </a:endParaRPr>
          </a:p>
        </p:txBody>
      </p:sp>
      <p:pic>
        <p:nvPicPr>
          <p:cNvPr id="31" name="Graphic 30">
            <a:extLst>
              <a:ext uri="{FF2B5EF4-FFF2-40B4-BE49-F238E27FC236}">
                <a16:creationId xmlns:a16="http://schemas.microsoft.com/office/drawing/2014/main" id="{E9FCF7F4-16B0-AB4C-A374-3787161E39E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57199" y="6391812"/>
            <a:ext cx="1550644" cy="289840"/>
          </a:xfrm>
          <a:prstGeom prst="rect">
            <a:avLst/>
          </a:prstGeom>
        </p:spPr>
      </p:pic>
      <p:grpSp>
        <p:nvGrpSpPr>
          <p:cNvPr id="4" name="Group 3">
            <a:extLst>
              <a:ext uri="{FF2B5EF4-FFF2-40B4-BE49-F238E27FC236}">
                <a16:creationId xmlns:a16="http://schemas.microsoft.com/office/drawing/2014/main" id="{E9CD2022-438A-C007-4E10-7CF6D86ACAC6}"/>
              </a:ext>
            </a:extLst>
          </p:cNvPr>
          <p:cNvGrpSpPr/>
          <p:nvPr/>
        </p:nvGrpSpPr>
        <p:grpSpPr>
          <a:xfrm>
            <a:off x="0" y="-12690"/>
            <a:ext cx="103488" cy="6870690"/>
            <a:chOff x="-2" y="-1"/>
            <a:chExt cx="103488" cy="6870690"/>
          </a:xfrm>
        </p:grpSpPr>
        <p:sp>
          <p:nvSpPr>
            <p:cNvPr id="5" name="Rectangle 4">
              <a:extLst>
                <a:ext uri="{FF2B5EF4-FFF2-40B4-BE49-F238E27FC236}">
                  <a16:creationId xmlns:a16="http://schemas.microsoft.com/office/drawing/2014/main" id="{F60183D2-C7EC-FF99-2E1C-2C286016B8F6}"/>
                </a:ext>
              </a:extLst>
            </p:cNvPr>
            <p:cNvSpPr/>
            <p:nvPr/>
          </p:nvSpPr>
          <p:spPr>
            <a:xfrm rot="5400000">
              <a:off x="-635326" y="3383602"/>
              <a:ext cx="1374138" cy="103486"/>
            </a:xfrm>
            <a:prstGeom prst="rect">
              <a:avLst/>
            </a:prstGeom>
            <a:solidFill>
              <a:srgbClr val="FEB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6B3FE1D-F805-81C3-DB7B-EA4E07174A1A}"/>
                </a:ext>
              </a:extLst>
            </p:cNvPr>
            <p:cNvSpPr/>
            <p:nvPr/>
          </p:nvSpPr>
          <p:spPr>
            <a:xfrm rot="5400000">
              <a:off x="-635326" y="4757739"/>
              <a:ext cx="1374138" cy="103486"/>
            </a:xfrm>
            <a:prstGeom prst="rect">
              <a:avLst/>
            </a:prstGeom>
            <a:solidFill>
              <a:srgbClr val="758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284DCBB0-6A6E-39CC-B565-E36B881CDDDC}"/>
                </a:ext>
              </a:extLst>
            </p:cNvPr>
            <p:cNvSpPr/>
            <p:nvPr/>
          </p:nvSpPr>
          <p:spPr>
            <a:xfrm rot="5400000">
              <a:off x="-635327" y="635324"/>
              <a:ext cx="1374138" cy="103488"/>
            </a:xfrm>
            <a:prstGeom prst="rect">
              <a:avLst/>
            </a:prstGeom>
            <a:solidFill>
              <a:srgbClr val="420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B587A0C1-8A3F-B556-D4D3-41312D69E22E}"/>
                </a:ext>
              </a:extLst>
            </p:cNvPr>
            <p:cNvSpPr/>
            <p:nvPr/>
          </p:nvSpPr>
          <p:spPr>
            <a:xfrm rot="5400000">
              <a:off x="-635326" y="2009464"/>
              <a:ext cx="1374138" cy="103486"/>
            </a:xfrm>
            <a:prstGeom prst="rect">
              <a:avLst/>
            </a:prstGeom>
            <a:solidFill>
              <a:srgbClr val="F23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AFDE61F5-D747-3078-9468-96E3572CDA81}"/>
                </a:ext>
              </a:extLst>
            </p:cNvPr>
            <p:cNvSpPr/>
            <p:nvPr/>
          </p:nvSpPr>
          <p:spPr>
            <a:xfrm rot="5400000">
              <a:off x="-635326" y="6131877"/>
              <a:ext cx="1374138" cy="103486"/>
            </a:xfrm>
            <a:prstGeom prst="rect">
              <a:avLst/>
            </a:prstGeom>
            <a:solidFill>
              <a:srgbClr val="C7D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78104128"/>
      </p:ext>
    </p:extLst>
  </p:cSld>
  <p:clrMap bg1="lt1" tx1="dk1" bg2="lt2" tx2="dk2" accent1="accent1" accent2="accent2" accent3="accent3" accent4="accent4" accent5="accent5" accent6="accent6" hlink="hlink" folHlink="folHlink"/>
  <p:sldLayoutIdLst>
    <p:sldLayoutId id="2147483938" r:id="rId1"/>
  </p:sldLayoutIdLst>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225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75"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63"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88"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6">
          <p15:clr>
            <a:srgbClr val="F26B43"/>
          </p15:clr>
        </p15:guide>
        <p15:guide id="2" pos="290">
          <p15:clr>
            <a:srgbClr val="F26B43"/>
          </p15:clr>
        </p15:guide>
        <p15:guide id="3" pos="7392">
          <p15:clr>
            <a:srgbClr val="F26B43"/>
          </p15:clr>
        </p15:guide>
        <p15:guide id="4" orient="horz" pos="4177">
          <p15:clr>
            <a:srgbClr val="F26B43"/>
          </p15:clr>
        </p15:guide>
        <p15:guide id="5" orient="horz" pos="1092">
          <p15:clr>
            <a:srgbClr val="F26B43"/>
          </p15:clr>
        </p15:guide>
        <p15:guide id="6" orient="horz" pos="388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46.png"/><Relationship Id="rId4"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35.sv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sv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49.sv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35.sv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39.sv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image" Target="../media/image39.sv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39.sv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59.png"/><Relationship Id="rId4" Type="http://schemas.openxmlformats.org/officeDocument/2006/relationships/image" Target="../media/image41.svg"/></Relationships>
</file>

<file path=ppt/slides/_rels/slide2.xml.rels><?xml version="1.0" encoding="UTF-8" standalone="yes"?>
<Relationships xmlns="http://schemas.openxmlformats.org/package/2006/relationships"><Relationship Id="rId3" Type="http://schemas.openxmlformats.org/officeDocument/2006/relationships/hyperlink" Target="mailto:ClientTrainingRequests@BonterraTech.com" TargetMode="External"/><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40.png"/><Relationship Id="rId7" Type="http://schemas.openxmlformats.org/officeDocument/2006/relationships/diagramLayout" Target="../diagrams/layout5.xm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diagramData" Target="../diagrams/data5.xml"/><Relationship Id="rId5" Type="http://schemas.openxmlformats.org/officeDocument/2006/relationships/image" Target="../media/image60.png"/><Relationship Id="rId10" Type="http://schemas.microsoft.com/office/2007/relationships/diagramDrawing" Target="../diagrams/drawing5.xml"/><Relationship Id="rId4" Type="http://schemas.openxmlformats.org/officeDocument/2006/relationships/image" Target="../media/image41.svg"/><Relationship Id="rId9" Type="http://schemas.openxmlformats.org/officeDocument/2006/relationships/diagramColors" Target="../diagrams/colors5.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image" Target="../media/image43.sv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5.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apricot-articles.socialsolutions.com/en/" TargetMode="External"/><Relationship Id="rId7" Type="http://schemas.openxmlformats.org/officeDocument/2006/relationships/image" Target="../media/image63.jpeg"/><Relationship Id="rId2" Type="http://schemas.openxmlformats.org/officeDocument/2006/relationships/notesSlide" Target="../notesSlides/notesSlide33.xml"/><Relationship Id="rId1" Type="http://schemas.openxmlformats.org/officeDocument/2006/relationships/slideLayout" Target="../slideLayouts/slideLayout50.xml"/><Relationship Id="rId6" Type="http://schemas.openxmlformats.org/officeDocument/2006/relationships/hyperlink" Target="https://apricot-articles.socialsolutions.com/en/articles/8952258-apricot-private-training-menu" TargetMode="External"/><Relationship Id="rId5" Type="http://schemas.openxmlformats.org/officeDocument/2006/relationships/hyperlink" Target="https://bonterraacademy.bonterratech.com/self-signup/index" TargetMode="External"/><Relationship Id="rId4" Type="http://schemas.openxmlformats.org/officeDocument/2006/relationships/hyperlink" Target="https://www.bonterratech.com/training#apricot"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mailto:apricot@bonterratech.com?subject=Case%20Management%20-%20Support%20Request" TargetMode="External"/><Relationship Id="rId2" Type="http://schemas.openxmlformats.org/officeDocument/2006/relationships/notesSlide" Target="../notesSlides/notesSlide34.xml"/><Relationship Id="rId1" Type="http://schemas.openxmlformats.org/officeDocument/2006/relationships/slideLayout" Target="../slideLayouts/slideLayout50.xml"/><Relationship Id="rId5" Type="http://schemas.openxmlformats.org/officeDocument/2006/relationships/image" Target="../media/image65.png"/><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hyperlink" Target="https://apricot-articles.socialsolutions.com/en/articles/9406409-impact-management-monthly-newsletter-product-update-webinars"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369C8D-D8E6-71C7-0E14-B36B98207008}"/>
              </a:ext>
            </a:extLst>
          </p:cNvPr>
          <p:cNvSpPr>
            <a:spLocks noGrp="1"/>
          </p:cNvSpPr>
          <p:nvPr>
            <p:ph type="ctrTitle"/>
          </p:nvPr>
        </p:nvSpPr>
        <p:spPr>
          <a:xfrm>
            <a:off x="992187" y="2148840"/>
            <a:ext cx="10207625" cy="2560320"/>
          </a:xfrm>
        </p:spPr>
        <p:txBody>
          <a:bodyPr/>
          <a:lstStyle/>
          <a:p>
            <a:pPr algn="ctr"/>
            <a:r>
              <a:rPr lang="en-US" dirty="0"/>
              <a:t>Apricot Certification Exam:</a:t>
            </a:r>
            <a:br>
              <a:rPr lang="en-US" dirty="0"/>
            </a:br>
            <a:r>
              <a:rPr lang="en-US" dirty="0"/>
              <a:t>Prep Course</a:t>
            </a:r>
          </a:p>
        </p:txBody>
      </p:sp>
    </p:spTree>
    <p:extLst>
      <p:ext uri="{BB962C8B-B14F-4D97-AF65-F5344CB8AC3E}">
        <p14:creationId xmlns:p14="http://schemas.microsoft.com/office/powerpoint/2010/main" val="1098572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40650-CB3F-1F8B-5941-E8CE7416319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1C34B7-DB6F-D0BB-D8E8-1C321E92F820}"/>
              </a:ext>
            </a:extLst>
          </p:cNvPr>
          <p:cNvSpPr>
            <a:spLocks noGrp="1"/>
          </p:cNvSpPr>
          <p:nvPr>
            <p:ph type="title"/>
          </p:nvPr>
        </p:nvSpPr>
        <p:spPr>
          <a:xfrm>
            <a:off x="1097280" y="406049"/>
            <a:ext cx="10637522" cy="594076"/>
          </a:xfrm>
        </p:spPr>
        <p:txBody>
          <a:bodyPr/>
          <a:lstStyle/>
          <a:p>
            <a:r>
              <a:rPr lang="en-US" dirty="0">
                <a:solidFill>
                  <a:schemeClr val="accent1"/>
                </a:solidFill>
              </a:rPr>
              <a:t>Form Design</a:t>
            </a:r>
          </a:p>
        </p:txBody>
      </p:sp>
      <p:sp>
        <p:nvSpPr>
          <p:cNvPr id="3" name="Content Placeholder 2">
            <a:extLst>
              <a:ext uri="{FF2B5EF4-FFF2-40B4-BE49-F238E27FC236}">
                <a16:creationId xmlns:a16="http://schemas.microsoft.com/office/drawing/2014/main" id="{4B221442-B463-BC6B-9F5C-A383A035A01D}"/>
              </a:ext>
            </a:extLst>
          </p:cNvPr>
          <p:cNvSpPr>
            <a:spLocks noGrp="1"/>
          </p:cNvSpPr>
          <p:nvPr>
            <p:ph idx="1"/>
          </p:nvPr>
        </p:nvSpPr>
        <p:spPr>
          <a:xfrm>
            <a:off x="457202" y="1537533"/>
            <a:ext cx="5404980" cy="4624191"/>
          </a:xfrm>
        </p:spPr>
        <p:txBody>
          <a:bodyPr/>
          <a:lstStyle/>
          <a:p>
            <a:r>
              <a:rPr lang="en-US" sz="2000" b="1" dirty="0">
                <a:solidFill>
                  <a:schemeClr val="accent2"/>
                </a:solidFill>
              </a:rPr>
              <a:t>Tier 1 vs. Tier 2 Forms</a:t>
            </a:r>
            <a:endParaRPr lang="en-US" dirty="0"/>
          </a:p>
          <a:p>
            <a:pPr marL="285750" indent="-285750">
              <a:buFont typeface="Arial" panose="020B0604020202020204" pitchFamily="34" charset="0"/>
              <a:buChar char="•"/>
            </a:pPr>
            <a:r>
              <a:rPr lang="en-US" b="1" dirty="0"/>
              <a:t>Tier 1 Profiles </a:t>
            </a:r>
            <a:r>
              <a:rPr lang="en-US" dirty="0"/>
              <a:t>to identify individuals &amp; track demographics, contact info, etc.</a:t>
            </a:r>
          </a:p>
          <a:p>
            <a:pPr marL="514344" lvl="1" indent="-285750"/>
            <a:r>
              <a:rPr lang="en-US" i="1" dirty="0"/>
              <a:t>Participants, Households, Volunteers</a:t>
            </a:r>
          </a:p>
          <a:p>
            <a:pPr marL="514344" lvl="1" indent="-285750"/>
            <a:endParaRPr lang="en-US" i="1" dirty="0"/>
          </a:p>
          <a:p>
            <a:pPr marL="285750" indent="-285750">
              <a:buFont typeface="Arial" panose="020B0604020202020204" pitchFamily="34" charset="0"/>
              <a:buChar char="•"/>
            </a:pPr>
            <a:r>
              <a:rPr lang="en-US" b="1" dirty="0"/>
              <a:t>Tier 1 Forms </a:t>
            </a:r>
            <a:r>
              <a:rPr lang="en-US" dirty="0"/>
              <a:t>to track interactions &amp; activities for count / history / progress.</a:t>
            </a:r>
          </a:p>
          <a:p>
            <a:pPr marL="514344" lvl="1" indent="-285750"/>
            <a:r>
              <a:rPr lang="en-US" i="1" dirty="0"/>
              <a:t>Program Enrollments, Service Plans, Goals, Services Delivered, Assessments</a:t>
            </a:r>
          </a:p>
        </p:txBody>
      </p:sp>
      <p:sp>
        <p:nvSpPr>
          <p:cNvPr id="5" name="Rectangle 4" descr="Clipboard Mixed with solid fill">
            <a:extLst>
              <a:ext uri="{FF2B5EF4-FFF2-40B4-BE49-F238E27FC236}">
                <a16:creationId xmlns:a16="http://schemas.microsoft.com/office/drawing/2014/main" id="{747217E9-C650-B110-9D13-E04DB022BFB9}"/>
              </a:ext>
            </a:extLst>
          </p:cNvPr>
          <p:cNvSpPr/>
          <p:nvPr/>
        </p:nvSpPr>
        <p:spPr>
          <a:xfrm>
            <a:off x="0" y="95496"/>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220857"/>
              <a:satOff val="15471"/>
              <a:lumOff val="3448"/>
              <a:alphaOff val="0"/>
            </a:schemeClr>
          </a:effectRef>
          <a:fontRef idx="minor">
            <a:schemeClr val="lt1">
              <a:hueOff val="0"/>
              <a:satOff val="0"/>
              <a:lumOff val="0"/>
              <a:alphaOff val="0"/>
            </a:schemeClr>
          </a:fontRef>
        </p:style>
        <p:txBody>
          <a:bodyPr/>
          <a:lstStyle/>
          <a:p>
            <a:endParaRPr lang="en-US" dirty="0"/>
          </a:p>
        </p:txBody>
      </p:sp>
      <p:sp>
        <p:nvSpPr>
          <p:cNvPr id="6" name="Content Placeholder 2">
            <a:extLst>
              <a:ext uri="{FF2B5EF4-FFF2-40B4-BE49-F238E27FC236}">
                <a16:creationId xmlns:a16="http://schemas.microsoft.com/office/drawing/2014/main" id="{788DCDA9-BAE9-87E6-BBF5-969F6CA8F2FC}"/>
              </a:ext>
            </a:extLst>
          </p:cNvPr>
          <p:cNvSpPr txBox="1">
            <a:spLocks/>
          </p:cNvSpPr>
          <p:nvPr/>
        </p:nvSpPr>
        <p:spPr>
          <a:xfrm>
            <a:off x="6329818" y="1537533"/>
            <a:ext cx="5404980" cy="4624192"/>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Form Templates</a:t>
            </a:r>
            <a:endParaRPr lang="en-US" dirty="0"/>
          </a:p>
          <a:p>
            <a:pPr marL="285750" indent="-285750">
              <a:buFont typeface="Arial" panose="020B0604020202020204" pitchFamily="34" charset="0"/>
              <a:buChar char="•"/>
            </a:pPr>
            <a:r>
              <a:rPr lang="en-US" b="1" dirty="0"/>
              <a:t>Pre-build forms</a:t>
            </a:r>
            <a:r>
              <a:rPr lang="en-US" dirty="0"/>
              <a:t> provided as starting point with data collection best practices. </a:t>
            </a:r>
          </a:p>
          <a:p>
            <a:pPr marL="285750" indent="-285750">
              <a:buFont typeface="Arial" panose="020B0604020202020204" pitchFamily="34" charset="0"/>
              <a:buChar char="•"/>
            </a:pPr>
            <a:r>
              <a:rPr lang="en-US" dirty="0"/>
              <a:t>Forms can be fully </a:t>
            </a:r>
            <a:r>
              <a:rPr lang="en-US" b="1" dirty="0"/>
              <a:t>customized</a:t>
            </a:r>
            <a:r>
              <a:rPr lang="en-US" dirty="0"/>
              <a:t> to unique needs.</a:t>
            </a:r>
          </a:p>
          <a:p>
            <a:pPr marL="285750" indent="-285750">
              <a:buFont typeface="Arial" panose="020B0604020202020204" pitchFamily="34" charset="0"/>
              <a:buChar char="•"/>
            </a:pPr>
            <a:r>
              <a:rPr lang="en-US" dirty="0"/>
              <a:t>Choose </a:t>
            </a:r>
            <a:r>
              <a:rPr lang="en-US" b="1" dirty="0"/>
              <a:t>Tier 1 vs. Tier 2 </a:t>
            </a:r>
            <a:r>
              <a:rPr lang="en-US" dirty="0"/>
              <a:t>placement wisely.</a:t>
            </a:r>
          </a:p>
          <a:p>
            <a:pPr marL="285750" indent="-285750">
              <a:buFont typeface="Arial" panose="020B0604020202020204" pitchFamily="34" charset="0"/>
              <a:buChar char="•"/>
            </a:pPr>
            <a:r>
              <a:rPr lang="en-US" dirty="0"/>
              <a:t>Start from scratch for anything fully custom.</a:t>
            </a:r>
          </a:p>
        </p:txBody>
      </p:sp>
      <p:pic>
        <p:nvPicPr>
          <p:cNvPr id="8" name="Picture 7">
            <a:extLst>
              <a:ext uri="{FF2B5EF4-FFF2-40B4-BE49-F238E27FC236}">
                <a16:creationId xmlns:a16="http://schemas.microsoft.com/office/drawing/2014/main" id="{E24A7754-3484-E428-05EF-4CC4B281F188}"/>
              </a:ext>
            </a:extLst>
          </p:cNvPr>
          <p:cNvPicPr>
            <a:picLocks noChangeAspect="1"/>
          </p:cNvPicPr>
          <p:nvPr/>
        </p:nvPicPr>
        <p:blipFill>
          <a:blip r:embed="rId5"/>
          <a:stretch>
            <a:fillRect/>
          </a:stretch>
        </p:blipFill>
        <p:spPr>
          <a:xfrm>
            <a:off x="6462979" y="4070574"/>
            <a:ext cx="5138658" cy="165382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42681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67B00-59B6-BA07-4E75-1D2F63C381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2A2B2D-E110-27F4-C385-15BFFEFC488F}"/>
              </a:ext>
            </a:extLst>
          </p:cNvPr>
          <p:cNvSpPr>
            <a:spLocks noGrp="1"/>
          </p:cNvSpPr>
          <p:nvPr>
            <p:ph type="title"/>
          </p:nvPr>
        </p:nvSpPr>
        <p:spPr>
          <a:xfrm>
            <a:off x="1097280" y="406049"/>
            <a:ext cx="10637522" cy="594076"/>
          </a:xfrm>
        </p:spPr>
        <p:txBody>
          <a:bodyPr/>
          <a:lstStyle/>
          <a:p>
            <a:r>
              <a:rPr lang="en-US" dirty="0">
                <a:solidFill>
                  <a:schemeClr val="accent1"/>
                </a:solidFill>
              </a:rPr>
              <a:t>Form Design</a:t>
            </a:r>
          </a:p>
        </p:txBody>
      </p:sp>
      <p:sp>
        <p:nvSpPr>
          <p:cNvPr id="3" name="Content Placeholder 2">
            <a:extLst>
              <a:ext uri="{FF2B5EF4-FFF2-40B4-BE49-F238E27FC236}">
                <a16:creationId xmlns:a16="http://schemas.microsoft.com/office/drawing/2014/main" id="{C6C0603A-18BF-A407-048B-440BA7C0BC64}"/>
              </a:ext>
            </a:extLst>
          </p:cNvPr>
          <p:cNvSpPr>
            <a:spLocks noGrp="1"/>
          </p:cNvSpPr>
          <p:nvPr>
            <p:ph idx="1"/>
          </p:nvPr>
        </p:nvSpPr>
        <p:spPr>
          <a:xfrm>
            <a:off x="457202" y="1594769"/>
            <a:ext cx="5430032" cy="4566956"/>
          </a:xfrm>
        </p:spPr>
        <p:txBody>
          <a:bodyPr/>
          <a:lstStyle/>
          <a:p>
            <a:r>
              <a:rPr lang="en-US" sz="2000" b="1" dirty="0">
                <a:solidFill>
                  <a:schemeClr val="accent2"/>
                </a:solidFill>
              </a:rPr>
              <a:t>Form Properties</a:t>
            </a:r>
            <a:endParaRPr lang="en-US" dirty="0"/>
          </a:p>
          <a:p>
            <a:pPr marL="285750" indent="-285750">
              <a:buFont typeface="Arial" panose="020B0604020202020204" pitchFamily="34" charset="0"/>
              <a:buChar char="•"/>
            </a:pPr>
            <a:r>
              <a:rPr lang="en-US" dirty="0"/>
              <a:t>Options &amp; </a:t>
            </a:r>
            <a:r>
              <a:rPr lang="en-US" b="1" dirty="0"/>
              <a:t>settings</a:t>
            </a:r>
            <a:r>
              <a:rPr lang="en-US" dirty="0"/>
              <a:t> enabled for each form.</a:t>
            </a:r>
          </a:p>
          <a:p>
            <a:endParaRPr lang="en-US" dirty="0"/>
          </a:p>
        </p:txBody>
      </p:sp>
      <p:sp>
        <p:nvSpPr>
          <p:cNvPr id="5" name="Rectangle 4" descr="Clipboard Mixed with solid fill">
            <a:extLst>
              <a:ext uri="{FF2B5EF4-FFF2-40B4-BE49-F238E27FC236}">
                <a16:creationId xmlns:a16="http://schemas.microsoft.com/office/drawing/2014/main" id="{56E524B2-BAFA-003E-92BE-3299D2C8D4CD}"/>
              </a:ext>
            </a:extLst>
          </p:cNvPr>
          <p:cNvSpPr/>
          <p:nvPr/>
        </p:nvSpPr>
        <p:spPr>
          <a:xfrm>
            <a:off x="0" y="95496"/>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220857"/>
              <a:satOff val="15471"/>
              <a:lumOff val="3448"/>
              <a:alphaOff val="0"/>
            </a:schemeClr>
          </a:effectRef>
          <a:fontRef idx="minor">
            <a:schemeClr val="lt1">
              <a:hueOff val="0"/>
              <a:satOff val="0"/>
              <a:lumOff val="0"/>
              <a:alphaOff val="0"/>
            </a:schemeClr>
          </a:fontRef>
        </p:style>
        <p:txBody>
          <a:bodyPr/>
          <a:lstStyle/>
          <a:p>
            <a:endParaRPr lang="en-US" dirty="0"/>
          </a:p>
        </p:txBody>
      </p:sp>
      <p:sp>
        <p:nvSpPr>
          <p:cNvPr id="6" name="Content Placeholder 2">
            <a:extLst>
              <a:ext uri="{FF2B5EF4-FFF2-40B4-BE49-F238E27FC236}">
                <a16:creationId xmlns:a16="http://schemas.microsoft.com/office/drawing/2014/main" id="{89E86A05-6168-FE96-31D4-CBA0545195C3}"/>
              </a:ext>
            </a:extLst>
          </p:cNvPr>
          <p:cNvSpPr txBox="1">
            <a:spLocks/>
          </p:cNvSpPr>
          <p:nvPr/>
        </p:nvSpPr>
        <p:spPr>
          <a:xfrm>
            <a:off x="6304768" y="1594769"/>
            <a:ext cx="5430032" cy="4566956"/>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Record Program Assignment</a:t>
            </a:r>
            <a:endParaRPr lang="en-US" dirty="0">
              <a:solidFill>
                <a:schemeClr val="accent1"/>
              </a:solidFill>
            </a:endParaRPr>
          </a:p>
          <a:p>
            <a:pPr marL="285750" indent="-285750">
              <a:buFont typeface="Arial" panose="020B0604020202020204" pitchFamily="34" charset="0"/>
              <a:buChar char="•"/>
            </a:pPr>
            <a:r>
              <a:rPr lang="en-US" dirty="0">
                <a:solidFill>
                  <a:schemeClr val="accent1"/>
                </a:solidFill>
              </a:rPr>
              <a:t>User selects program assignment</a:t>
            </a:r>
          </a:p>
          <a:p>
            <a:pPr marL="285750" indent="-285750">
              <a:buFont typeface="Arial" panose="020B0604020202020204" pitchFamily="34" charset="0"/>
              <a:buChar char="•"/>
            </a:pPr>
            <a:r>
              <a:rPr lang="en-US" dirty="0">
                <a:solidFill>
                  <a:schemeClr val="accent1"/>
                </a:solidFill>
              </a:rPr>
              <a:t>Assign records to form’s associated programs</a:t>
            </a:r>
          </a:p>
          <a:p>
            <a:pPr marL="285750" indent="-285750">
              <a:buFont typeface="Arial" panose="020B0604020202020204" pitchFamily="34" charset="0"/>
              <a:buChar char="•"/>
            </a:pPr>
            <a:r>
              <a:rPr lang="en-US" dirty="0">
                <a:solidFill>
                  <a:schemeClr val="accent1"/>
                </a:solidFill>
              </a:rPr>
              <a:t>Assign records to user’s associated programs</a:t>
            </a:r>
            <a:endParaRPr lang="en-US" sz="2000" dirty="0">
              <a:solidFill>
                <a:schemeClr val="accent1"/>
              </a:solidFill>
            </a:endParaRPr>
          </a:p>
        </p:txBody>
      </p:sp>
      <p:pic>
        <p:nvPicPr>
          <p:cNvPr id="8" name="Picture 7">
            <a:extLst>
              <a:ext uri="{FF2B5EF4-FFF2-40B4-BE49-F238E27FC236}">
                <a16:creationId xmlns:a16="http://schemas.microsoft.com/office/drawing/2014/main" id="{6B54B010-7737-9F2A-279F-EA32649FEAD9}"/>
              </a:ext>
            </a:extLst>
          </p:cNvPr>
          <p:cNvPicPr>
            <a:picLocks noChangeAspect="1"/>
          </p:cNvPicPr>
          <p:nvPr/>
        </p:nvPicPr>
        <p:blipFill>
          <a:blip r:embed="rId5"/>
          <a:srcRect b="22796"/>
          <a:stretch/>
        </p:blipFill>
        <p:spPr>
          <a:xfrm>
            <a:off x="811687" y="2649784"/>
            <a:ext cx="4044642" cy="301198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2ED6BD7-2161-3D94-D983-4E5EE6BC7EEC}"/>
              </a:ext>
            </a:extLst>
          </p:cNvPr>
          <p:cNvPicPr>
            <a:picLocks noChangeAspect="1"/>
          </p:cNvPicPr>
          <p:nvPr/>
        </p:nvPicPr>
        <p:blipFill>
          <a:blip r:embed="rId6"/>
          <a:stretch>
            <a:fillRect/>
          </a:stretch>
        </p:blipFill>
        <p:spPr>
          <a:xfrm>
            <a:off x="6926893" y="3317328"/>
            <a:ext cx="3625020" cy="2992864"/>
          </a:xfrm>
          <a:prstGeom prst="rect">
            <a:avLst/>
          </a:prstGeom>
          <a:ln>
            <a:noFill/>
          </a:ln>
          <a:effectLst>
            <a:outerShdw blurRad="292100" dist="139700" dir="2700000" algn="tl" rotWithShape="0">
              <a:srgbClr val="333333">
                <a:alpha val="65000"/>
              </a:srgbClr>
            </a:outerShdw>
          </a:effectLst>
        </p:spPr>
      </p:pic>
      <p:sp>
        <p:nvSpPr>
          <p:cNvPr id="13" name="Rectangle 12">
            <a:extLst>
              <a:ext uri="{FF2B5EF4-FFF2-40B4-BE49-F238E27FC236}">
                <a16:creationId xmlns:a16="http://schemas.microsoft.com/office/drawing/2014/main" id="{9F4F0BF3-DA43-C226-A4C1-D71BE6EED4CB}"/>
              </a:ext>
            </a:extLst>
          </p:cNvPr>
          <p:cNvSpPr/>
          <p:nvPr/>
        </p:nvSpPr>
        <p:spPr>
          <a:xfrm>
            <a:off x="811687" y="3933173"/>
            <a:ext cx="1956565" cy="172859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Arrow Connector 14">
            <a:extLst>
              <a:ext uri="{FF2B5EF4-FFF2-40B4-BE49-F238E27FC236}">
                <a16:creationId xmlns:a16="http://schemas.microsoft.com/office/drawing/2014/main" id="{8F52E05D-7C89-163E-8512-AF72A7D1C9F6}"/>
              </a:ext>
            </a:extLst>
          </p:cNvPr>
          <p:cNvCxnSpPr>
            <a:stCxn id="8" idx="3"/>
          </p:cNvCxnSpPr>
          <p:nvPr/>
        </p:nvCxnSpPr>
        <p:spPr>
          <a:xfrm flipV="1">
            <a:off x="4856329" y="3519814"/>
            <a:ext cx="1982882" cy="63596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2947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E6CAF9-F171-6124-351A-CB783B93258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D6BB22-A99E-95D4-9003-8AE64D31A0EB}"/>
              </a:ext>
            </a:extLst>
          </p:cNvPr>
          <p:cNvSpPr>
            <a:spLocks noGrp="1"/>
          </p:cNvSpPr>
          <p:nvPr>
            <p:ph type="title"/>
          </p:nvPr>
        </p:nvSpPr>
        <p:spPr>
          <a:xfrm>
            <a:off x="1097280" y="406049"/>
            <a:ext cx="10637522" cy="594076"/>
          </a:xfrm>
        </p:spPr>
        <p:txBody>
          <a:bodyPr/>
          <a:lstStyle/>
          <a:p>
            <a:r>
              <a:rPr lang="en-US" dirty="0">
                <a:solidFill>
                  <a:schemeClr val="accent1"/>
                </a:solidFill>
              </a:rPr>
              <a:t>Form Design</a:t>
            </a:r>
          </a:p>
        </p:txBody>
      </p:sp>
      <p:sp>
        <p:nvSpPr>
          <p:cNvPr id="3" name="Content Placeholder 2">
            <a:extLst>
              <a:ext uri="{FF2B5EF4-FFF2-40B4-BE49-F238E27FC236}">
                <a16:creationId xmlns:a16="http://schemas.microsoft.com/office/drawing/2014/main" id="{870FA7B4-C2F2-682F-0B31-AC24737D10CE}"/>
              </a:ext>
            </a:extLst>
          </p:cNvPr>
          <p:cNvSpPr>
            <a:spLocks noGrp="1"/>
          </p:cNvSpPr>
          <p:nvPr>
            <p:ph idx="1"/>
          </p:nvPr>
        </p:nvSpPr>
        <p:spPr>
          <a:xfrm>
            <a:off x="457202" y="1594769"/>
            <a:ext cx="5417506" cy="4566956"/>
          </a:xfrm>
        </p:spPr>
        <p:txBody>
          <a:bodyPr/>
          <a:lstStyle/>
          <a:p>
            <a:r>
              <a:rPr lang="en-US" sz="2000" b="1" dirty="0">
                <a:solidFill>
                  <a:schemeClr val="accent2"/>
                </a:solidFill>
              </a:rPr>
              <a:t>Field Types</a:t>
            </a:r>
          </a:p>
          <a:p>
            <a:pPr marL="285750" indent="-285750">
              <a:buFont typeface="Arial" panose="020B0604020202020204" pitchFamily="34" charset="0"/>
              <a:buChar char="•"/>
            </a:pPr>
            <a:r>
              <a:rPr lang="en-US" dirty="0"/>
              <a:t>Choose the right type for data &amp; reporting.</a:t>
            </a:r>
          </a:p>
          <a:p>
            <a:endParaRPr lang="en-US" dirty="0"/>
          </a:p>
          <a:p>
            <a:pPr>
              <a:spcBef>
                <a:spcPts val="0"/>
              </a:spcBef>
            </a:pPr>
            <a:r>
              <a:rPr lang="en-US" b="1" dirty="0"/>
              <a:t>Data Format</a:t>
            </a:r>
            <a:r>
              <a:rPr lang="en-US" dirty="0"/>
              <a:t>:</a:t>
            </a:r>
          </a:p>
          <a:p>
            <a:pPr marL="285750" indent="-285750">
              <a:spcBef>
                <a:spcPts val="0"/>
              </a:spcBef>
              <a:buFont typeface="Arial" panose="020B0604020202020204" pitchFamily="34" charset="0"/>
              <a:buChar char="•"/>
            </a:pPr>
            <a:r>
              <a:rPr lang="en-US" dirty="0"/>
              <a:t>Date &amp; Time</a:t>
            </a:r>
          </a:p>
          <a:p>
            <a:pPr marL="285750" indent="-285750">
              <a:spcBef>
                <a:spcPts val="0"/>
              </a:spcBef>
              <a:buFont typeface="Arial" panose="020B0604020202020204" pitchFamily="34" charset="0"/>
              <a:buChar char="•"/>
            </a:pPr>
            <a:r>
              <a:rPr lang="en-US" dirty="0"/>
              <a:t>Numeric</a:t>
            </a:r>
          </a:p>
          <a:p>
            <a:pPr marL="285750" indent="-285750">
              <a:spcBef>
                <a:spcPts val="0"/>
              </a:spcBef>
              <a:buFont typeface="Arial" panose="020B0604020202020204" pitchFamily="34" charset="0"/>
              <a:buChar char="•"/>
            </a:pPr>
            <a:r>
              <a:rPr lang="en-US" dirty="0"/>
              <a:t>Text</a:t>
            </a:r>
          </a:p>
          <a:p>
            <a:pPr>
              <a:spcBef>
                <a:spcPts val="0"/>
              </a:spcBef>
            </a:pPr>
            <a:endParaRPr lang="en-US" dirty="0"/>
          </a:p>
          <a:p>
            <a:pPr>
              <a:spcBef>
                <a:spcPts val="0"/>
              </a:spcBef>
            </a:pPr>
            <a:r>
              <a:rPr lang="en-US" b="1" dirty="0"/>
              <a:t>Field Format</a:t>
            </a:r>
            <a:r>
              <a:rPr lang="en-US" dirty="0"/>
              <a:t>:</a:t>
            </a:r>
          </a:p>
          <a:p>
            <a:pPr marL="285750" indent="-285750">
              <a:spcBef>
                <a:spcPts val="0"/>
              </a:spcBef>
              <a:buFont typeface="Arial" panose="020B0604020202020204" pitchFamily="34" charset="0"/>
              <a:buChar char="•"/>
            </a:pPr>
            <a:r>
              <a:rPr lang="en-US" dirty="0"/>
              <a:t>Preformatted</a:t>
            </a:r>
          </a:p>
          <a:p>
            <a:pPr marL="285750" indent="-285750">
              <a:spcBef>
                <a:spcPts val="0"/>
              </a:spcBef>
              <a:buFont typeface="Arial" panose="020B0604020202020204" pitchFamily="34" charset="0"/>
              <a:buChar char="•"/>
            </a:pPr>
            <a:r>
              <a:rPr lang="en-US" dirty="0"/>
              <a:t>Option</a:t>
            </a:r>
          </a:p>
          <a:p>
            <a:pPr marL="285750" indent="-285750">
              <a:spcBef>
                <a:spcPts val="0"/>
              </a:spcBef>
              <a:buFont typeface="Arial" panose="020B0604020202020204" pitchFamily="34" charset="0"/>
              <a:buChar char="•"/>
            </a:pPr>
            <a:r>
              <a:rPr lang="en-US" dirty="0"/>
              <a:t>Open Text</a:t>
            </a:r>
          </a:p>
        </p:txBody>
      </p:sp>
      <p:sp>
        <p:nvSpPr>
          <p:cNvPr id="5" name="Rectangle 4" descr="Clipboard Mixed with solid fill">
            <a:extLst>
              <a:ext uri="{FF2B5EF4-FFF2-40B4-BE49-F238E27FC236}">
                <a16:creationId xmlns:a16="http://schemas.microsoft.com/office/drawing/2014/main" id="{25FFB84F-B43E-CFAC-9E31-3F4EE678B96A}"/>
              </a:ext>
            </a:extLst>
          </p:cNvPr>
          <p:cNvSpPr/>
          <p:nvPr/>
        </p:nvSpPr>
        <p:spPr>
          <a:xfrm>
            <a:off x="0" y="95496"/>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220857"/>
              <a:satOff val="15471"/>
              <a:lumOff val="3448"/>
              <a:alphaOff val="0"/>
            </a:schemeClr>
          </a:effectRef>
          <a:fontRef idx="minor">
            <a:schemeClr val="lt1">
              <a:hueOff val="0"/>
              <a:satOff val="0"/>
              <a:lumOff val="0"/>
              <a:alphaOff val="0"/>
            </a:schemeClr>
          </a:fontRef>
        </p:style>
        <p:txBody>
          <a:bodyPr/>
          <a:lstStyle/>
          <a:p>
            <a:endParaRPr lang="en-US" dirty="0"/>
          </a:p>
        </p:txBody>
      </p:sp>
      <p:sp>
        <p:nvSpPr>
          <p:cNvPr id="6" name="Content Placeholder 2">
            <a:extLst>
              <a:ext uri="{FF2B5EF4-FFF2-40B4-BE49-F238E27FC236}">
                <a16:creationId xmlns:a16="http://schemas.microsoft.com/office/drawing/2014/main" id="{E8DB0ED2-0A6D-5AE6-39B7-ACA12FF20FAA}"/>
              </a:ext>
            </a:extLst>
          </p:cNvPr>
          <p:cNvSpPr txBox="1">
            <a:spLocks/>
          </p:cNvSpPr>
          <p:nvPr/>
        </p:nvSpPr>
        <p:spPr>
          <a:xfrm>
            <a:off x="6317292" y="1594769"/>
            <a:ext cx="5417506" cy="4566956"/>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Field Properties</a:t>
            </a:r>
          </a:p>
          <a:p>
            <a:pPr marL="285750" indent="-285750">
              <a:buFont typeface="Arial" panose="020B0604020202020204" pitchFamily="34" charset="0"/>
              <a:buChar char="•"/>
            </a:pPr>
            <a:r>
              <a:rPr lang="en-US" dirty="0"/>
              <a:t>Settings &amp; options for each data point.</a:t>
            </a:r>
          </a:p>
        </p:txBody>
      </p:sp>
      <p:pic>
        <p:nvPicPr>
          <p:cNvPr id="1026" name="Picture 2">
            <a:extLst>
              <a:ext uri="{FF2B5EF4-FFF2-40B4-BE49-F238E27FC236}">
                <a16:creationId xmlns:a16="http://schemas.microsoft.com/office/drawing/2014/main" id="{9A6D8431-65E9-DEFE-07FD-9036AB4759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0565" y="2435000"/>
            <a:ext cx="2667727" cy="385338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C52E4F7-CEAD-EF3F-C949-55078EFA328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081" t="21052" r="8227" b="7245"/>
          <a:stretch/>
        </p:blipFill>
        <p:spPr bwMode="auto">
          <a:xfrm>
            <a:off x="6627311" y="2617940"/>
            <a:ext cx="4542694" cy="29561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733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FC3FDF-F8A1-BA02-3635-D3DDCADF65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641C7E-DFFC-5957-82A9-0ED75EF2C123}"/>
              </a:ext>
            </a:extLst>
          </p:cNvPr>
          <p:cNvSpPr>
            <a:spLocks noGrp="1"/>
          </p:cNvSpPr>
          <p:nvPr>
            <p:ph type="title"/>
          </p:nvPr>
        </p:nvSpPr>
        <p:spPr>
          <a:xfrm>
            <a:off x="1097280" y="406049"/>
            <a:ext cx="10637522" cy="594076"/>
          </a:xfrm>
        </p:spPr>
        <p:txBody>
          <a:bodyPr/>
          <a:lstStyle/>
          <a:p>
            <a:r>
              <a:rPr lang="en-US" dirty="0">
                <a:solidFill>
                  <a:schemeClr val="accent1"/>
                </a:solidFill>
              </a:rPr>
              <a:t>Form Design</a:t>
            </a:r>
          </a:p>
        </p:txBody>
      </p:sp>
      <p:sp>
        <p:nvSpPr>
          <p:cNvPr id="3" name="Content Placeholder 2">
            <a:extLst>
              <a:ext uri="{FF2B5EF4-FFF2-40B4-BE49-F238E27FC236}">
                <a16:creationId xmlns:a16="http://schemas.microsoft.com/office/drawing/2014/main" id="{F284CE28-DCC6-EC3B-33C2-98D5F4150543}"/>
              </a:ext>
            </a:extLst>
          </p:cNvPr>
          <p:cNvSpPr>
            <a:spLocks noGrp="1"/>
          </p:cNvSpPr>
          <p:nvPr>
            <p:ph idx="1"/>
          </p:nvPr>
        </p:nvSpPr>
        <p:spPr>
          <a:xfrm>
            <a:off x="457201" y="1478071"/>
            <a:ext cx="11277599" cy="4683654"/>
          </a:xfrm>
        </p:spPr>
        <p:txBody>
          <a:bodyPr/>
          <a:lstStyle/>
          <a:p>
            <a:pPr>
              <a:lnSpc>
                <a:spcPct val="150000"/>
              </a:lnSpc>
            </a:pPr>
            <a:r>
              <a:rPr lang="en-US" sz="2000" b="1" dirty="0">
                <a:solidFill>
                  <a:schemeClr val="accent2"/>
                </a:solidFill>
              </a:rPr>
              <a:t>Lookup Lists </a:t>
            </a:r>
            <a:r>
              <a:rPr lang="en-US" dirty="0"/>
              <a:t>– Preset list of answer choices for Option fields to save time &amp; ensure consistency.</a:t>
            </a:r>
          </a:p>
          <a:p>
            <a:pPr>
              <a:lnSpc>
                <a:spcPct val="150000"/>
              </a:lnSpc>
            </a:pPr>
            <a:r>
              <a:rPr lang="en-US" sz="2000" b="1" dirty="0">
                <a:solidFill>
                  <a:schemeClr val="accent2"/>
                </a:solidFill>
              </a:rPr>
              <a:t>Smart Fields </a:t>
            </a:r>
            <a:r>
              <a:rPr lang="en-US" dirty="0"/>
              <a:t>– Dynamic list of answer choices based on data entered in another form in Apricot.</a:t>
            </a:r>
          </a:p>
          <a:p>
            <a:pPr>
              <a:lnSpc>
                <a:spcPct val="150000"/>
              </a:lnSpc>
            </a:pPr>
            <a:r>
              <a:rPr lang="en-US" sz="2000" b="1" dirty="0">
                <a:solidFill>
                  <a:schemeClr val="accent2"/>
                </a:solidFill>
              </a:rPr>
              <a:t>Linking Fields </a:t>
            </a:r>
            <a:r>
              <a:rPr lang="en-US" dirty="0"/>
              <a:t>– Opportunity to connect data to improve workflow &amp; enable combined reporting.</a:t>
            </a:r>
          </a:p>
          <a:p>
            <a:pPr>
              <a:lnSpc>
                <a:spcPct val="150000"/>
              </a:lnSpc>
            </a:pPr>
            <a:r>
              <a:rPr lang="en-US" sz="2000" b="1" dirty="0">
                <a:solidFill>
                  <a:schemeClr val="accent2"/>
                </a:solidFill>
              </a:rPr>
              <a:t>Form Logic </a:t>
            </a:r>
            <a:r>
              <a:rPr lang="en-US" dirty="0"/>
              <a:t>– Option to automate actions within a form based on answers to certain questions.</a:t>
            </a:r>
          </a:p>
          <a:p>
            <a:pPr>
              <a:lnSpc>
                <a:spcPct val="150000"/>
              </a:lnSpc>
            </a:pPr>
            <a:endParaRPr lang="en-US" dirty="0"/>
          </a:p>
        </p:txBody>
      </p:sp>
      <p:sp>
        <p:nvSpPr>
          <p:cNvPr id="5" name="Rectangle 4" descr="Clipboard Mixed with solid fill">
            <a:extLst>
              <a:ext uri="{FF2B5EF4-FFF2-40B4-BE49-F238E27FC236}">
                <a16:creationId xmlns:a16="http://schemas.microsoft.com/office/drawing/2014/main" id="{561E26DF-02FA-8EDD-1762-5061AFB8D0B8}"/>
              </a:ext>
            </a:extLst>
          </p:cNvPr>
          <p:cNvSpPr/>
          <p:nvPr/>
        </p:nvSpPr>
        <p:spPr>
          <a:xfrm>
            <a:off x="0" y="95496"/>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220857"/>
              <a:satOff val="15471"/>
              <a:lumOff val="3448"/>
              <a:alphaOff val="0"/>
            </a:schemeClr>
          </a:effectRef>
          <a:fontRef idx="minor">
            <a:schemeClr val="lt1">
              <a:hueOff val="0"/>
              <a:satOff val="0"/>
              <a:lumOff val="0"/>
              <a:alphaOff val="0"/>
            </a:schemeClr>
          </a:fontRef>
        </p:style>
        <p:txBody>
          <a:bodyPr/>
          <a:lstStyle/>
          <a:p>
            <a:endParaRPr lang="en-US" dirty="0"/>
          </a:p>
        </p:txBody>
      </p:sp>
      <p:pic>
        <p:nvPicPr>
          <p:cNvPr id="3074" name="Picture 2">
            <a:extLst>
              <a:ext uri="{FF2B5EF4-FFF2-40B4-BE49-F238E27FC236}">
                <a16:creationId xmlns:a16="http://schemas.microsoft.com/office/drawing/2014/main" id="{2744FDE8-B6F5-FD66-6990-9B230C2E04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6041" y="3837764"/>
            <a:ext cx="3892529" cy="251781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B5B9B0D-C41B-0FB3-A327-4B746EE62293}"/>
              </a:ext>
            </a:extLst>
          </p:cNvPr>
          <p:cNvSpPr/>
          <p:nvPr/>
        </p:nvSpPr>
        <p:spPr>
          <a:xfrm>
            <a:off x="6513534" y="4283901"/>
            <a:ext cx="1503124" cy="1096028"/>
          </a:xfrm>
          <a:prstGeom prst="rect">
            <a:avLst/>
          </a:prstGeom>
          <a:noFill/>
          <a:ln w="38100">
            <a:solidFill>
              <a:srgbClr val="E19C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8" name="Picture 6">
            <a:extLst>
              <a:ext uri="{FF2B5EF4-FFF2-40B4-BE49-F238E27FC236}">
                <a16:creationId xmlns:a16="http://schemas.microsoft.com/office/drawing/2014/main" id="{67CB59DD-E9C0-4C2F-D391-663315643EB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912" t="44264" r="7717" b="9734"/>
          <a:stretch/>
        </p:blipFill>
        <p:spPr bwMode="auto">
          <a:xfrm>
            <a:off x="688394" y="4045264"/>
            <a:ext cx="5087566" cy="18107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680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77D08E-0380-2F96-E411-D822D93994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1201C7-47F6-C113-CA77-CAEB37EE4A1B}"/>
              </a:ext>
            </a:extLst>
          </p:cNvPr>
          <p:cNvSpPr>
            <a:spLocks noGrp="1"/>
          </p:cNvSpPr>
          <p:nvPr>
            <p:ph type="title"/>
          </p:nvPr>
        </p:nvSpPr>
        <p:spPr>
          <a:xfrm>
            <a:off x="1097280" y="406049"/>
            <a:ext cx="10637522" cy="594076"/>
          </a:xfrm>
        </p:spPr>
        <p:txBody>
          <a:bodyPr/>
          <a:lstStyle/>
          <a:p>
            <a:r>
              <a:rPr lang="en-US" dirty="0">
                <a:solidFill>
                  <a:schemeClr val="accent1"/>
                </a:solidFill>
              </a:rPr>
              <a:t>Form Design</a:t>
            </a:r>
          </a:p>
        </p:txBody>
      </p:sp>
      <p:sp>
        <p:nvSpPr>
          <p:cNvPr id="3" name="Content Placeholder 2">
            <a:extLst>
              <a:ext uri="{FF2B5EF4-FFF2-40B4-BE49-F238E27FC236}">
                <a16:creationId xmlns:a16="http://schemas.microsoft.com/office/drawing/2014/main" id="{A3DBF8FE-538C-A002-128A-649E0D17A563}"/>
              </a:ext>
            </a:extLst>
          </p:cNvPr>
          <p:cNvSpPr>
            <a:spLocks noGrp="1"/>
          </p:cNvSpPr>
          <p:nvPr>
            <p:ph idx="1"/>
          </p:nvPr>
        </p:nvSpPr>
        <p:spPr>
          <a:xfrm>
            <a:off x="457201" y="1453019"/>
            <a:ext cx="11277599" cy="4708706"/>
          </a:xfrm>
        </p:spPr>
        <p:txBody>
          <a:bodyPr/>
          <a:lstStyle/>
          <a:p>
            <a:r>
              <a:rPr lang="en-US" sz="2000" b="1" dirty="0">
                <a:solidFill>
                  <a:schemeClr val="accent2"/>
                </a:solidFill>
              </a:rPr>
              <a:t>Editing Forms</a:t>
            </a:r>
            <a:endParaRPr lang="en-US" dirty="0"/>
          </a:p>
          <a:p>
            <a:pPr marL="285750" indent="-285750">
              <a:buFont typeface="Arial" panose="020B0604020202020204" pitchFamily="34" charset="0"/>
              <a:buChar char="•"/>
            </a:pPr>
            <a:r>
              <a:rPr lang="en-US" dirty="0"/>
              <a:t>Ongoing </a:t>
            </a:r>
            <a:r>
              <a:rPr lang="en-US" b="1" dirty="0"/>
              <a:t>maintenance</a:t>
            </a:r>
            <a:r>
              <a:rPr lang="en-US" dirty="0"/>
              <a:t> to add, adjust or remove fields.</a:t>
            </a:r>
          </a:p>
          <a:p>
            <a:pPr marL="285750" indent="-285750">
              <a:buFont typeface="Arial" panose="020B0604020202020204" pitchFamily="34" charset="0"/>
              <a:buChar char="•"/>
            </a:pPr>
            <a:r>
              <a:rPr lang="en-US" dirty="0"/>
              <a:t>Always consider the impact on </a:t>
            </a:r>
            <a:r>
              <a:rPr lang="en-US" b="1" dirty="0"/>
              <a:t>previously entered records</a:t>
            </a:r>
            <a:r>
              <a:rPr lang="en-US" dirty="0"/>
              <a:t>.</a:t>
            </a:r>
          </a:p>
          <a:p>
            <a:pPr marL="285750" indent="-285750">
              <a:buFont typeface="Arial" panose="020B0604020202020204" pitchFamily="34" charset="0"/>
              <a:buChar char="•"/>
            </a:pPr>
            <a:endParaRPr lang="en-US" dirty="0"/>
          </a:p>
          <a:p>
            <a:r>
              <a:rPr lang="en-US" sz="2000" b="1" dirty="0">
                <a:solidFill>
                  <a:schemeClr val="accent2"/>
                </a:solidFill>
              </a:rPr>
              <a:t>Importing &amp; Moving Data</a:t>
            </a:r>
          </a:p>
          <a:p>
            <a:pPr marL="285750" indent="-285750">
              <a:buFont typeface="Arial" panose="020B0604020202020204" pitchFamily="34" charset="0"/>
              <a:buChar char="•"/>
            </a:pPr>
            <a:r>
              <a:rPr lang="en-US" dirty="0"/>
              <a:t>Option to migrate data into Apricot or from one field to another via </a:t>
            </a:r>
            <a:r>
              <a:rPr lang="en-US" b="1" dirty="0"/>
              <a:t>spreadsheets</a:t>
            </a:r>
            <a:r>
              <a:rPr lang="en-US" dirty="0"/>
              <a:t>.</a:t>
            </a:r>
          </a:p>
          <a:p>
            <a:pPr marL="285750" indent="-285750">
              <a:buFont typeface="Arial" panose="020B0604020202020204" pitchFamily="34" charset="0"/>
              <a:buChar char="•"/>
            </a:pPr>
            <a:r>
              <a:rPr lang="en-US" dirty="0"/>
              <a:t>Must tell Apricot where to put data &amp; avoid accidently overwriting anything.</a:t>
            </a:r>
          </a:p>
        </p:txBody>
      </p:sp>
      <p:sp>
        <p:nvSpPr>
          <p:cNvPr id="5" name="Rectangle 4" descr="Clipboard Mixed with solid fill">
            <a:extLst>
              <a:ext uri="{FF2B5EF4-FFF2-40B4-BE49-F238E27FC236}">
                <a16:creationId xmlns:a16="http://schemas.microsoft.com/office/drawing/2014/main" id="{0C371838-E82A-DE56-3FA6-B3A4B617A742}"/>
              </a:ext>
            </a:extLst>
          </p:cNvPr>
          <p:cNvSpPr/>
          <p:nvPr/>
        </p:nvSpPr>
        <p:spPr>
          <a:xfrm>
            <a:off x="0" y="95496"/>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220857"/>
              <a:satOff val="15471"/>
              <a:lumOff val="3448"/>
              <a:alphaOff val="0"/>
            </a:schemeClr>
          </a:effectRef>
          <a:fontRef idx="minor">
            <a:schemeClr val="lt1">
              <a:hueOff val="0"/>
              <a:satOff val="0"/>
              <a:lumOff val="0"/>
              <a:alphaOff val="0"/>
            </a:schemeClr>
          </a:fontRef>
        </p:style>
        <p:txBody>
          <a:bodyPr/>
          <a:lstStyle/>
          <a:p>
            <a:endParaRPr lang="en-US" dirty="0"/>
          </a:p>
        </p:txBody>
      </p:sp>
      <p:pic>
        <p:nvPicPr>
          <p:cNvPr id="7" name="Picture 6">
            <a:extLst>
              <a:ext uri="{FF2B5EF4-FFF2-40B4-BE49-F238E27FC236}">
                <a16:creationId xmlns:a16="http://schemas.microsoft.com/office/drawing/2014/main" id="{5A3BBA36-BD36-A7D2-D50E-E9F363C833D8}"/>
              </a:ext>
            </a:extLst>
          </p:cNvPr>
          <p:cNvPicPr>
            <a:picLocks noChangeAspect="1"/>
          </p:cNvPicPr>
          <p:nvPr/>
        </p:nvPicPr>
        <p:blipFill>
          <a:blip r:embed="rId5"/>
          <a:stretch>
            <a:fillRect/>
          </a:stretch>
        </p:blipFill>
        <p:spPr>
          <a:xfrm>
            <a:off x="7749420" y="1453019"/>
            <a:ext cx="3473900" cy="1683729"/>
          </a:xfrm>
          <a:prstGeom prst="rect">
            <a:avLst/>
          </a:prstGeom>
          <a:effectLst>
            <a:softEdge rad="63500"/>
          </a:effectLst>
        </p:spPr>
      </p:pic>
      <p:pic>
        <p:nvPicPr>
          <p:cNvPr id="4098" name="Picture 2" descr="A red arrow pointing to a white sheet&#10;&#10;Description automatically generated">
            <a:extLst>
              <a:ext uri="{FF2B5EF4-FFF2-40B4-BE49-F238E27FC236}">
                <a16:creationId xmlns:a16="http://schemas.microsoft.com/office/drawing/2014/main" id="{3A6D508D-3B9B-9269-FEAC-EBAEB9500B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42" t="8919" r="3977" b="19290"/>
          <a:stretch/>
        </p:blipFill>
        <p:spPr bwMode="auto">
          <a:xfrm>
            <a:off x="2018071" y="4583813"/>
            <a:ext cx="8155858" cy="15112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5512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042D4D-9E63-3707-6312-DA7141EFA7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D0DC96-85D0-633F-F9A8-31B3EFE950A6}"/>
              </a:ext>
            </a:extLst>
          </p:cNvPr>
          <p:cNvSpPr>
            <a:spLocks noGrp="1"/>
          </p:cNvSpPr>
          <p:nvPr>
            <p:ph type="title"/>
          </p:nvPr>
        </p:nvSpPr>
        <p:spPr>
          <a:xfrm>
            <a:off x="1097280" y="406049"/>
            <a:ext cx="10637522" cy="594076"/>
          </a:xfrm>
        </p:spPr>
        <p:txBody>
          <a:bodyPr/>
          <a:lstStyle/>
          <a:p>
            <a:r>
              <a:rPr lang="en-US" dirty="0">
                <a:solidFill>
                  <a:schemeClr val="accent1"/>
                </a:solidFill>
              </a:rPr>
              <a:t>How to Track…</a:t>
            </a:r>
          </a:p>
        </p:txBody>
      </p:sp>
      <p:sp>
        <p:nvSpPr>
          <p:cNvPr id="3" name="Content Placeholder 2">
            <a:extLst>
              <a:ext uri="{FF2B5EF4-FFF2-40B4-BE49-F238E27FC236}">
                <a16:creationId xmlns:a16="http://schemas.microsoft.com/office/drawing/2014/main" id="{63696809-2573-5791-F67E-36A5E0544BC1}"/>
              </a:ext>
            </a:extLst>
          </p:cNvPr>
          <p:cNvSpPr>
            <a:spLocks noGrp="1"/>
          </p:cNvSpPr>
          <p:nvPr>
            <p:ph idx="1"/>
          </p:nvPr>
        </p:nvSpPr>
        <p:spPr>
          <a:xfrm>
            <a:off x="457201" y="1314451"/>
            <a:ext cx="11277599" cy="4847274"/>
          </a:xfrm>
        </p:spPr>
        <p:txBody>
          <a:bodyPr/>
          <a:lstStyle/>
          <a:p>
            <a:pPr>
              <a:lnSpc>
                <a:spcPct val="150000"/>
              </a:lnSpc>
            </a:pPr>
            <a:r>
              <a:rPr lang="en-US" sz="2000" b="1" dirty="0">
                <a:solidFill>
                  <a:schemeClr val="accent2"/>
                </a:solidFill>
              </a:rPr>
              <a:t>Demographics</a:t>
            </a:r>
            <a:r>
              <a:rPr lang="en-US" dirty="0"/>
              <a:t> – Tier 1 Profile, updated as information changes.</a:t>
            </a:r>
          </a:p>
          <a:p>
            <a:pPr>
              <a:lnSpc>
                <a:spcPct val="150000"/>
              </a:lnSpc>
            </a:pPr>
            <a:r>
              <a:rPr lang="en-US" sz="2000" b="1" dirty="0">
                <a:solidFill>
                  <a:schemeClr val="accent2"/>
                </a:solidFill>
              </a:rPr>
              <a:t>Households</a:t>
            </a:r>
            <a:r>
              <a:rPr lang="en-US" dirty="0"/>
              <a:t> – Tier 1 Profile linking together family members.</a:t>
            </a:r>
          </a:p>
          <a:p>
            <a:pPr>
              <a:lnSpc>
                <a:spcPct val="150000"/>
              </a:lnSpc>
            </a:pPr>
            <a:r>
              <a:rPr lang="en-US" sz="2000" b="1" dirty="0">
                <a:solidFill>
                  <a:schemeClr val="accent2"/>
                </a:solidFill>
              </a:rPr>
              <a:t>Services</a:t>
            </a:r>
            <a:r>
              <a:rPr lang="en-US" dirty="0"/>
              <a:t> – Tips for single vs. multiservice like Wizard Style Linking.</a:t>
            </a:r>
          </a:p>
          <a:p>
            <a:pPr>
              <a:lnSpc>
                <a:spcPct val="150000"/>
              </a:lnSpc>
            </a:pPr>
            <a:r>
              <a:rPr lang="en-US" sz="2000" b="1" dirty="0">
                <a:solidFill>
                  <a:schemeClr val="accent2"/>
                </a:solidFill>
              </a:rPr>
              <a:t>Attendance</a:t>
            </a:r>
            <a:r>
              <a:rPr lang="en-US" dirty="0"/>
              <a:t> – Classes &amp; Terms vs. Batch Record Creation.</a:t>
            </a:r>
          </a:p>
          <a:p>
            <a:pPr>
              <a:lnSpc>
                <a:spcPct val="150000"/>
              </a:lnSpc>
            </a:pPr>
            <a:r>
              <a:rPr lang="en-US" sz="2000" b="1" dirty="0">
                <a:solidFill>
                  <a:schemeClr val="accent2"/>
                </a:solidFill>
              </a:rPr>
              <a:t>Referrals</a:t>
            </a:r>
            <a:r>
              <a:rPr lang="en-US" dirty="0"/>
              <a:t> – Intake for Incoming, Referrals for Internal, Tier 2 for Outgoing.</a:t>
            </a:r>
          </a:p>
          <a:p>
            <a:pPr>
              <a:lnSpc>
                <a:spcPct val="150000"/>
              </a:lnSpc>
            </a:pPr>
            <a:r>
              <a:rPr lang="en-US" sz="2000" b="1" dirty="0">
                <a:solidFill>
                  <a:schemeClr val="accent2"/>
                </a:solidFill>
              </a:rPr>
              <a:t>Surveys / Assessments </a:t>
            </a:r>
            <a:r>
              <a:rPr lang="en-US" dirty="0"/>
              <a:t>– Masked Value Fields &amp; Calculations.</a:t>
            </a:r>
          </a:p>
          <a:p>
            <a:pPr>
              <a:lnSpc>
                <a:spcPct val="150000"/>
              </a:lnSpc>
            </a:pPr>
            <a:r>
              <a:rPr lang="en-US" sz="2000" b="1" dirty="0">
                <a:solidFill>
                  <a:schemeClr val="accent2"/>
                </a:solidFill>
              </a:rPr>
              <a:t>Inventory</a:t>
            </a:r>
            <a:r>
              <a:rPr lang="en-US" dirty="0"/>
              <a:t> – Tracking Physical Resources, Distributions &amp; Returns.</a:t>
            </a:r>
          </a:p>
          <a:p>
            <a:pPr>
              <a:lnSpc>
                <a:spcPct val="150000"/>
              </a:lnSpc>
            </a:pPr>
            <a:endParaRPr lang="en-US" dirty="0"/>
          </a:p>
        </p:txBody>
      </p:sp>
      <p:sp>
        <p:nvSpPr>
          <p:cNvPr id="4" name="Text Placeholder 3">
            <a:extLst>
              <a:ext uri="{FF2B5EF4-FFF2-40B4-BE49-F238E27FC236}">
                <a16:creationId xmlns:a16="http://schemas.microsoft.com/office/drawing/2014/main" id="{AC98ABA2-2614-7E08-EC09-7D5486872C32}"/>
              </a:ext>
            </a:extLst>
          </p:cNvPr>
          <p:cNvSpPr>
            <a:spLocks noGrp="1"/>
          </p:cNvSpPr>
          <p:nvPr>
            <p:ph type="body" sz="half" idx="2"/>
          </p:nvPr>
        </p:nvSpPr>
        <p:spPr/>
        <p:txBody>
          <a:bodyPr/>
          <a:lstStyle/>
          <a:p>
            <a:endParaRPr lang="en-US"/>
          </a:p>
        </p:txBody>
      </p:sp>
      <p:sp>
        <p:nvSpPr>
          <p:cNvPr id="5" name="Rectangle 4" descr="Playbook with solid fill">
            <a:extLst>
              <a:ext uri="{FF2B5EF4-FFF2-40B4-BE49-F238E27FC236}">
                <a16:creationId xmlns:a16="http://schemas.microsoft.com/office/drawing/2014/main" id="{2A6D32F4-3B67-41A4-2FBD-42C38F242E3F}"/>
              </a:ext>
            </a:extLst>
          </p:cNvPr>
          <p:cNvSpPr/>
          <p:nvPr/>
        </p:nvSpPr>
        <p:spPr>
          <a:xfrm>
            <a:off x="0"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441715"/>
              <a:satOff val="30942"/>
              <a:lumOff val="6896"/>
              <a:alphaOff val="0"/>
            </a:schemeClr>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2212519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58401D-B323-10B9-068D-60AB59E9E0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6AD99C-10EE-5E4C-A8AF-CA1763F7810E}"/>
              </a:ext>
            </a:extLst>
          </p:cNvPr>
          <p:cNvSpPr>
            <a:spLocks noGrp="1"/>
          </p:cNvSpPr>
          <p:nvPr>
            <p:ph type="title"/>
          </p:nvPr>
        </p:nvSpPr>
        <p:spPr>
          <a:xfrm>
            <a:off x="1187482" y="406049"/>
            <a:ext cx="10547320" cy="594076"/>
          </a:xfrm>
        </p:spPr>
        <p:txBody>
          <a:bodyPr/>
          <a:lstStyle/>
          <a:p>
            <a:r>
              <a:rPr lang="en-US" dirty="0">
                <a:solidFill>
                  <a:schemeClr val="accent1"/>
                </a:solidFill>
              </a:rPr>
              <a:t>Native Reporting</a:t>
            </a:r>
          </a:p>
        </p:txBody>
      </p:sp>
      <p:sp>
        <p:nvSpPr>
          <p:cNvPr id="3" name="Content Placeholder 2">
            <a:extLst>
              <a:ext uri="{FF2B5EF4-FFF2-40B4-BE49-F238E27FC236}">
                <a16:creationId xmlns:a16="http://schemas.microsoft.com/office/drawing/2014/main" id="{EBF3A5CC-AD95-3769-990E-2A32EF6DC093}"/>
              </a:ext>
            </a:extLst>
          </p:cNvPr>
          <p:cNvSpPr>
            <a:spLocks noGrp="1"/>
          </p:cNvSpPr>
          <p:nvPr>
            <p:ph idx="1"/>
          </p:nvPr>
        </p:nvSpPr>
        <p:spPr>
          <a:xfrm>
            <a:off x="457202" y="1314451"/>
            <a:ext cx="5427784" cy="4847274"/>
          </a:xfrm>
        </p:spPr>
        <p:txBody>
          <a:bodyPr/>
          <a:lstStyle/>
          <a:p>
            <a:r>
              <a:rPr lang="en-US" sz="2000" b="1" dirty="0">
                <a:solidFill>
                  <a:schemeClr val="accent2"/>
                </a:solidFill>
              </a:rPr>
              <a:t>Report Building</a:t>
            </a:r>
          </a:p>
          <a:p>
            <a:pPr marL="285750" indent="-285750">
              <a:buFont typeface="Arial" panose="020B0604020202020204" pitchFamily="34" charset="0"/>
              <a:buChar char="•"/>
            </a:pPr>
            <a:r>
              <a:rPr lang="en-US" b="1" dirty="0"/>
              <a:t>Drag &amp; drop </a:t>
            </a:r>
            <a:r>
              <a:rPr lang="en-US" dirty="0"/>
              <a:t>any data collected in your Apricot.</a:t>
            </a:r>
          </a:p>
          <a:p>
            <a:pPr marL="285750" indent="-285750">
              <a:buFont typeface="Arial" panose="020B0604020202020204" pitchFamily="34" charset="0"/>
              <a:buChar char="•"/>
            </a:pPr>
            <a:r>
              <a:rPr lang="en-US" dirty="0"/>
              <a:t>Start with the right </a:t>
            </a:r>
            <a:r>
              <a:rPr lang="en-US" b="1" dirty="0"/>
              <a:t>root form </a:t>
            </a:r>
            <a:r>
              <a:rPr lang="en-US" dirty="0"/>
              <a:t>for solid foundation.</a:t>
            </a:r>
          </a:p>
          <a:p>
            <a:pPr marL="285750" indent="-285750">
              <a:buFont typeface="Arial" panose="020B0604020202020204" pitchFamily="34" charset="0"/>
              <a:buChar char="•"/>
            </a:pPr>
            <a:r>
              <a:rPr lang="en-US" dirty="0"/>
              <a:t>Make sure report respects </a:t>
            </a:r>
            <a:r>
              <a:rPr lang="en-US" b="1" dirty="0"/>
              <a:t>Linking relationships</a:t>
            </a:r>
            <a:r>
              <a:rPr lang="en-US" dirty="0"/>
              <a:t>.</a:t>
            </a:r>
          </a:p>
        </p:txBody>
      </p:sp>
      <p:sp>
        <p:nvSpPr>
          <p:cNvPr id="4" name="Text Placeholder 3">
            <a:extLst>
              <a:ext uri="{FF2B5EF4-FFF2-40B4-BE49-F238E27FC236}">
                <a16:creationId xmlns:a16="http://schemas.microsoft.com/office/drawing/2014/main" id="{B13D7650-4FC7-D2EF-244D-B152E817F92D}"/>
              </a:ext>
            </a:extLst>
          </p:cNvPr>
          <p:cNvSpPr>
            <a:spLocks noGrp="1"/>
          </p:cNvSpPr>
          <p:nvPr>
            <p:ph type="body" sz="half" idx="2"/>
          </p:nvPr>
        </p:nvSpPr>
        <p:spPr/>
        <p:txBody>
          <a:bodyPr/>
          <a:lstStyle/>
          <a:p>
            <a:endParaRPr lang="en-US"/>
          </a:p>
        </p:txBody>
      </p:sp>
      <p:sp>
        <p:nvSpPr>
          <p:cNvPr id="5" name="Rectangle 4" descr="Bar chart with solid fill">
            <a:extLst>
              <a:ext uri="{FF2B5EF4-FFF2-40B4-BE49-F238E27FC236}">
                <a16:creationId xmlns:a16="http://schemas.microsoft.com/office/drawing/2014/main" id="{44C1247D-BA52-D9EB-A047-7055BB3D24EA}"/>
              </a:ext>
            </a:extLst>
          </p:cNvPr>
          <p:cNvSpPr/>
          <p:nvPr/>
        </p:nvSpPr>
        <p:spPr>
          <a:xfrm>
            <a:off x="90202"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662572"/>
              <a:satOff val="46413"/>
              <a:lumOff val="10345"/>
              <a:alphaOff val="0"/>
            </a:schemeClr>
          </a:effectRef>
          <a:fontRef idx="minor">
            <a:schemeClr val="lt1">
              <a:hueOff val="0"/>
              <a:satOff val="0"/>
              <a:lumOff val="0"/>
              <a:alphaOff val="0"/>
            </a:schemeClr>
          </a:fontRef>
        </p:style>
        <p:txBody>
          <a:bodyPr/>
          <a:lstStyle/>
          <a:p>
            <a:endParaRPr lang="en-US"/>
          </a:p>
        </p:txBody>
      </p:sp>
      <p:sp>
        <p:nvSpPr>
          <p:cNvPr id="6" name="Content Placeholder 2">
            <a:extLst>
              <a:ext uri="{FF2B5EF4-FFF2-40B4-BE49-F238E27FC236}">
                <a16:creationId xmlns:a16="http://schemas.microsoft.com/office/drawing/2014/main" id="{FEEEBE62-F338-7EC5-6184-1F1E0F7BBAC0}"/>
              </a:ext>
            </a:extLst>
          </p:cNvPr>
          <p:cNvSpPr txBox="1">
            <a:spLocks/>
          </p:cNvSpPr>
          <p:nvPr/>
        </p:nvSpPr>
        <p:spPr>
          <a:xfrm>
            <a:off x="6307016" y="1314451"/>
            <a:ext cx="5427784" cy="4847274"/>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Section Properties</a:t>
            </a:r>
          </a:p>
          <a:p>
            <a:pPr marL="285750" indent="-285750">
              <a:buFont typeface="Arial" panose="020B0604020202020204" pitchFamily="34" charset="0"/>
              <a:buChar char="•"/>
            </a:pPr>
            <a:r>
              <a:rPr lang="en-US" dirty="0"/>
              <a:t>Options &amp; settings to enable for each section.</a:t>
            </a:r>
          </a:p>
        </p:txBody>
      </p:sp>
      <p:pic>
        <p:nvPicPr>
          <p:cNvPr id="8" name="Picture 7">
            <a:extLst>
              <a:ext uri="{FF2B5EF4-FFF2-40B4-BE49-F238E27FC236}">
                <a16:creationId xmlns:a16="http://schemas.microsoft.com/office/drawing/2014/main" id="{0D88319C-C016-63C1-2D21-2C38A322FBE7}"/>
              </a:ext>
            </a:extLst>
          </p:cNvPr>
          <p:cNvPicPr>
            <a:picLocks noChangeAspect="1"/>
          </p:cNvPicPr>
          <p:nvPr/>
        </p:nvPicPr>
        <p:blipFill>
          <a:blip r:embed="rId5"/>
          <a:stretch>
            <a:fillRect/>
          </a:stretch>
        </p:blipFill>
        <p:spPr>
          <a:xfrm>
            <a:off x="7149430" y="2280722"/>
            <a:ext cx="3742955" cy="3373098"/>
          </a:xfrm>
          <a:prstGeom prst="rect">
            <a:avLst/>
          </a:prstGeom>
          <a:ln>
            <a:noFill/>
          </a:ln>
          <a:effectLst>
            <a:outerShdw blurRad="292100" dist="139700" dir="2700000" algn="tl" rotWithShape="0">
              <a:srgbClr val="333333">
                <a:alpha val="65000"/>
              </a:srgbClr>
            </a:outerShdw>
          </a:effectLst>
        </p:spPr>
      </p:pic>
      <p:pic>
        <p:nvPicPr>
          <p:cNvPr id="5122" name="Picture 2">
            <a:extLst>
              <a:ext uri="{FF2B5EF4-FFF2-40B4-BE49-F238E27FC236}">
                <a16:creationId xmlns:a16="http://schemas.microsoft.com/office/drawing/2014/main" id="{D66C888C-8D23-0A78-3CB0-BAB995E6E7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981" y="2997811"/>
            <a:ext cx="4848225" cy="3019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5151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0D9D9-655B-E4DB-DC70-7149646A0F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C0C938-BCF5-F696-E174-ECFDC50AA286}"/>
              </a:ext>
            </a:extLst>
          </p:cNvPr>
          <p:cNvSpPr>
            <a:spLocks noGrp="1"/>
          </p:cNvSpPr>
          <p:nvPr>
            <p:ph type="title"/>
          </p:nvPr>
        </p:nvSpPr>
        <p:spPr>
          <a:xfrm>
            <a:off x="1187482" y="406049"/>
            <a:ext cx="10547320" cy="594076"/>
          </a:xfrm>
        </p:spPr>
        <p:txBody>
          <a:bodyPr/>
          <a:lstStyle/>
          <a:p>
            <a:r>
              <a:rPr lang="en-US" dirty="0">
                <a:solidFill>
                  <a:schemeClr val="accent1"/>
                </a:solidFill>
              </a:rPr>
              <a:t>Native Reporting</a:t>
            </a:r>
          </a:p>
        </p:txBody>
      </p:sp>
      <p:sp>
        <p:nvSpPr>
          <p:cNvPr id="3" name="Content Placeholder 2">
            <a:extLst>
              <a:ext uri="{FF2B5EF4-FFF2-40B4-BE49-F238E27FC236}">
                <a16:creationId xmlns:a16="http://schemas.microsoft.com/office/drawing/2014/main" id="{1BECF813-12C3-DA2F-0E00-6D29A11763DD}"/>
              </a:ext>
            </a:extLst>
          </p:cNvPr>
          <p:cNvSpPr>
            <a:spLocks noGrp="1"/>
          </p:cNvSpPr>
          <p:nvPr>
            <p:ph idx="1"/>
          </p:nvPr>
        </p:nvSpPr>
        <p:spPr>
          <a:xfrm>
            <a:off x="457202" y="1314451"/>
            <a:ext cx="5427784" cy="4847274"/>
          </a:xfrm>
        </p:spPr>
        <p:txBody>
          <a:bodyPr/>
          <a:lstStyle/>
          <a:p>
            <a:r>
              <a:rPr lang="en-US" sz="2000" b="1" dirty="0">
                <a:solidFill>
                  <a:schemeClr val="accent2"/>
                </a:solidFill>
              </a:rPr>
              <a:t>Column Properties</a:t>
            </a:r>
          </a:p>
          <a:p>
            <a:pPr marL="285750" indent="-285750">
              <a:buFont typeface="Arial" panose="020B0604020202020204" pitchFamily="34" charset="0"/>
              <a:buChar char="•"/>
            </a:pPr>
            <a:r>
              <a:rPr lang="en-US" dirty="0"/>
              <a:t>Settings for each data point in a report.</a:t>
            </a:r>
          </a:p>
          <a:p>
            <a:pPr marL="285750" indent="-285750">
              <a:buFont typeface="Arial" panose="020B0604020202020204" pitchFamily="34" charset="0"/>
              <a:buChar char="•"/>
            </a:pPr>
            <a:r>
              <a:rPr lang="en-US" dirty="0"/>
              <a:t>Options vary by type of field &amp; data.</a:t>
            </a:r>
          </a:p>
        </p:txBody>
      </p:sp>
      <p:sp>
        <p:nvSpPr>
          <p:cNvPr id="4" name="Text Placeholder 3">
            <a:extLst>
              <a:ext uri="{FF2B5EF4-FFF2-40B4-BE49-F238E27FC236}">
                <a16:creationId xmlns:a16="http://schemas.microsoft.com/office/drawing/2014/main" id="{B812CDE6-E96F-6A3D-AB1B-9A73AD9D770D}"/>
              </a:ext>
            </a:extLst>
          </p:cNvPr>
          <p:cNvSpPr>
            <a:spLocks noGrp="1"/>
          </p:cNvSpPr>
          <p:nvPr>
            <p:ph type="body" sz="half" idx="2"/>
          </p:nvPr>
        </p:nvSpPr>
        <p:spPr/>
        <p:txBody>
          <a:bodyPr/>
          <a:lstStyle/>
          <a:p>
            <a:endParaRPr lang="en-US"/>
          </a:p>
        </p:txBody>
      </p:sp>
      <p:sp>
        <p:nvSpPr>
          <p:cNvPr id="5" name="Rectangle 4" descr="Bar chart with solid fill">
            <a:extLst>
              <a:ext uri="{FF2B5EF4-FFF2-40B4-BE49-F238E27FC236}">
                <a16:creationId xmlns:a16="http://schemas.microsoft.com/office/drawing/2014/main" id="{C91F8E68-B00C-A44D-DA3D-D19C642126AD}"/>
              </a:ext>
            </a:extLst>
          </p:cNvPr>
          <p:cNvSpPr/>
          <p:nvPr/>
        </p:nvSpPr>
        <p:spPr>
          <a:xfrm>
            <a:off x="90202"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662572"/>
              <a:satOff val="46413"/>
              <a:lumOff val="10345"/>
              <a:alphaOff val="0"/>
            </a:schemeClr>
          </a:effectRef>
          <a:fontRef idx="minor">
            <a:schemeClr val="lt1">
              <a:hueOff val="0"/>
              <a:satOff val="0"/>
              <a:lumOff val="0"/>
              <a:alphaOff val="0"/>
            </a:schemeClr>
          </a:fontRef>
        </p:style>
        <p:txBody>
          <a:bodyPr/>
          <a:lstStyle/>
          <a:p>
            <a:endParaRPr lang="en-US"/>
          </a:p>
        </p:txBody>
      </p:sp>
      <p:sp>
        <p:nvSpPr>
          <p:cNvPr id="6" name="Content Placeholder 2">
            <a:extLst>
              <a:ext uri="{FF2B5EF4-FFF2-40B4-BE49-F238E27FC236}">
                <a16:creationId xmlns:a16="http://schemas.microsoft.com/office/drawing/2014/main" id="{DC9837B7-4DFF-67F3-D0E8-EB955E6398F9}"/>
              </a:ext>
            </a:extLst>
          </p:cNvPr>
          <p:cNvSpPr txBox="1">
            <a:spLocks/>
          </p:cNvSpPr>
          <p:nvPr/>
        </p:nvSpPr>
        <p:spPr>
          <a:xfrm>
            <a:off x="6307016" y="1314451"/>
            <a:ext cx="5427784" cy="4847274"/>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Filtering</a:t>
            </a:r>
            <a:endParaRPr lang="en-US" b="1" dirty="0">
              <a:solidFill>
                <a:schemeClr val="accent2"/>
              </a:solidFill>
            </a:endParaRPr>
          </a:p>
          <a:p>
            <a:pPr marL="285750" indent="-285750">
              <a:buFont typeface="Arial" panose="020B0604020202020204" pitchFamily="34" charset="0"/>
              <a:buChar char="•"/>
            </a:pPr>
            <a:r>
              <a:rPr lang="en-US" dirty="0"/>
              <a:t>Use </a:t>
            </a:r>
            <a:r>
              <a:rPr lang="en-US" b="1" dirty="0"/>
              <a:t>Global Filters </a:t>
            </a:r>
            <a:r>
              <a:rPr lang="en-US" dirty="0"/>
              <a:t>with multi-section reports.</a:t>
            </a:r>
          </a:p>
          <a:p>
            <a:pPr marL="285750" indent="-285750">
              <a:buFont typeface="Arial" panose="020B0604020202020204" pitchFamily="34" charset="0"/>
              <a:buChar char="•"/>
            </a:pPr>
            <a:r>
              <a:rPr lang="en-US" dirty="0"/>
              <a:t>Use “</a:t>
            </a:r>
            <a:r>
              <a:rPr lang="en-US" b="1" dirty="0"/>
              <a:t>Searchable</a:t>
            </a:r>
            <a:r>
              <a:rPr lang="en-US" dirty="0"/>
              <a:t>” setting for common filters.</a:t>
            </a:r>
          </a:p>
          <a:p>
            <a:pPr marL="285750" indent="-285750">
              <a:buFont typeface="Arial" panose="020B0604020202020204" pitchFamily="34" charset="0"/>
              <a:buChar char="•"/>
            </a:pPr>
            <a:r>
              <a:rPr lang="en-US" dirty="0"/>
              <a:t>Apply </a:t>
            </a:r>
            <a:r>
              <a:rPr lang="en-US" b="1" dirty="0"/>
              <a:t>Filter Logic </a:t>
            </a:r>
            <a:r>
              <a:rPr lang="en-US" dirty="0"/>
              <a:t>for more advanced filtering.</a:t>
            </a:r>
          </a:p>
          <a:p>
            <a:pPr marL="285750" indent="-285750">
              <a:buFont typeface="Arial" panose="020B0604020202020204" pitchFamily="34" charset="0"/>
              <a:buChar char="•"/>
            </a:pPr>
            <a:r>
              <a:rPr lang="en-US" b="1" dirty="0"/>
              <a:t>Inverse Filter </a:t>
            </a:r>
            <a:r>
              <a:rPr lang="en-US" dirty="0"/>
              <a:t>gives you everything but “</a:t>
            </a:r>
            <a:r>
              <a:rPr lang="en-US" dirty="0" err="1"/>
              <a:t>xyz</a:t>
            </a:r>
            <a:r>
              <a:rPr lang="en-US" dirty="0"/>
              <a:t>.”</a:t>
            </a:r>
          </a:p>
          <a:p>
            <a:pPr marL="285750" indent="-285750">
              <a:buFont typeface="Arial" panose="020B0604020202020204" pitchFamily="34" charset="0"/>
              <a:buChar char="•"/>
            </a:pPr>
            <a:r>
              <a:rPr lang="en-US" b="1" dirty="0"/>
              <a:t>Group Filters</a:t>
            </a:r>
            <a:r>
              <a:rPr lang="en-US" dirty="0"/>
              <a:t> apply to Grouped data.</a:t>
            </a:r>
          </a:p>
          <a:p>
            <a:pPr marL="285750" indent="-285750">
              <a:buFont typeface="Arial" panose="020B0604020202020204" pitchFamily="34" charset="0"/>
              <a:buChar char="•"/>
            </a:pPr>
            <a:r>
              <a:rPr lang="en-US" b="1" dirty="0"/>
              <a:t>Comparison Filters </a:t>
            </a:r>
            <a:r>
              <a:rPr lang="en-US" dirty="0"/>
              <a:t>work on to like datapoints.</a:t>
            </a:r>
          </a:p>
          <a:p>
            <a:endParaRPr lang="en-US" dirty="0"/>
          </a:p>
        </p:txBody>
      </p:sp>
      <p:pic>
        <p:nvPicPr>
          <p:cNvPr id="7" name="Picture 6">
            <a:extLst>
              <a:ext uri="{FF2B5EF4-FFF2-40B4-BE49-F238E27FC236}">
                <a16:creationId xmlns:a16="http://schemas.microsoft.com/office/drawing/2014/main" id="{0B5199D4-0B81-F7B9-69E4-74DA3DE7967A}"/>
              </a:ext>
            </a:extLst>
          </p:cNvPr>
          <p:cNvPicPr>
            <a:picLocks noChangeAspect="1"/>
          </p:cNvPicPr>
          <p:nvPr/>
        </p:nvPicPr>
        <p:blipFill>
          <a:blip r:embed="rId5"/>
          <a:srcRect b="13955"/>
          <a:stretch/>
        </p:blipFill>
        <p:spPr>
          <a:xfrm>
            <a:off x="1187482" y="2638575"/>
            <a:ext cx="3546065" cy="30339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47486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00621-E763-340E-527D-C4E1A47CFD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4E3697-57F9-5CFE-3F67-0FD88CD2F9FE}"/>
              </a:ext>
            </a:extLst>
          </p:cNvPr>
          <p:cNvSpPr>
            <a:spLocks noGrp="1"/>
          </p:cNvSpPr>
          <p:nvPr>
            <p:ph type="title"/>
          </p:nvPr>
        </p:nvSpPr>
        <p:spPr>
          <a:xfrm>
            <a:off x="1187482" y="406049"/>
            <a:ext cx="10547320" cy="594076"/>
          </a:xfrm>
        </p:spPr>
        <p:txBody>
          <a:bodyPr/>
          <a:lstStyle/>
          <a:p>
            <a:r>
              <a:rPr lang="en-US" dirty="0">
                <a:solidFill>
                  <a:schemeClr val="accent1"/>
                </a:solidFill>
              </a:rPr>
              <a:t>Native Reporting</a:t>
            </a:r>
          </a:p>
        </p:txBody>
      </p:sp>
      <p:sp>
        <p:nvSpPr>
          <p:cNvPr id="3" name="Content Placeholder 2">
            <a:extLst>
              <a:ext uri="{FF2B5EF4-FFF2-40B4-BE49-F238E27FC236}">
                <a16:creationId xmlns:a16="http://schemas.microsoft.com/office/drawing/2014/main" id="{65DD48B8-AB35-5CD2-3BE3-3247839FFB95}"/>
              </a:ext>
            </a:extLst>
          </p:cNvPr>
          <p:cNvSpPr>
            <a:spLocks noGrp="1"/>
          </p:cNvSpPr>
          <p:nvPr>
            <p:ph idx="1"/>
          </p:nvPr>
        </p:nvSpPr>
        <p:spPr>
          <a:xfrm>
            <a:off x="457201" y="1314451"/>
            <a:ext cx="11277599" cy="4847274"/>
          </a:xfrm>
        </p:spPr>
        <p:txBody>
          <a:bodyPr/>
          <a:lstStyle/>
          <a:p>
            <a:pPr>
              <a:lnSpc>
                <a:spcPct val="150000"/>
              </a:lnSpc>
            </a:pPr>
            <a:r>
              <a:rPr lang="en-US" sz="2000" b="1" dirty="0">
                <a:solidFill>
                  <a:schemeClr val="accent2"/>
                </a:solidFill>
              </a:rPr>
              <a:t>Grouping</a:t>
            </a:r>
            <a:r>
              <a:rPr lang="en-US" dirty="0"/>
              <a:t> – Organizing report data into categories for counts &amp; analysis.</a:t>
            </a:r>
          </a:p>
          <a:p>
            <a:pPr>
              <a:lnSpc>
                <a:spcPct val="150000"/>
              </a:lnSpc>
            </a:pPr>
            <a:r>
              <a:rPr lang="en-US" sz="2000" b="1" dirty="0">
                <a:solidFill>
                  <a:schemeClr val="accent2"/>
                </a:solidFill>
              </a:rPr>
              <a:t>Graphing</a:t>
            </a:r>
            <a:r>
              <a:rPr lang="en-US" dirty="0"/>
              <a:t> – Adding visual representation of compiled data for impact.</a:t>
            </a:r>
          </a:p>
          <a:p>
            <a:pPr>
              <a:lnSpc>
                <a:spcPct val="150000"/>
              </a:lnSpc>
            </a:pPr>
            <a:r>
              <a:rPr lang="en-US" sz="2000" b="1" dirty="0">
                <a:solidFill>
                  <a:schemeClr val="accent2"/>
                </a:solidFill>
              </a:rPr>
              <a:t>Special Columns </a:t>
            </a:r>
            <a:r>
              <a:rPr lang="en-US" dirty="0"/>
              <a:t>– Calculation or Summary to analyze report rows &amp; sections.</a:t>
            </a:r>
          </a:p>
          <a:p>
            <a:pPr>
              <a:lnSpc>
                <a:spcPct val="150000"/>
              </a:lnSpc>
            </a:pPr>
            <a:r>
              <a:rPr lang="en-US" sz="2000" b="1" dirty="0">
                <a:solidFill>
                  <a:schemeClr val="accent2"/>
                </a:solidFill>
              </a:rPr>
              <a:t>Summary Sections </a:t>
            </a:r>
            <a:r>
              <a:rPr lang="en-US" dirty="0"/>
              <a:t>– Compile data points from other sections to summarize.</a:t>
            </a:r>
          </a:p>
          <a:p>
            <a:pPr>
              <a:lnSpc>
                <a:spcPct val="150000"/>
              </a:lnSpc>
            </a:pPr>
            <a:r>
              <a:rPr lang="en-US" sz="2000" b="1" dirty="0">
                <a:solidFill>
                  <a:schemeClr val="accent2"/>
                </a:solidFill>
              </a:rPr>
              <a:t>Limits &amp; Required </a:t>
            </a:r>
            <a:r>
              <a:rPr lang="en-US" dirty="0"/>
              <a:t>– Options to narrow down data by secondary form &amp; creation date.</a:t>
            </a:r>
          </a:p>
          <a:p>
            <a:pPr>
              <a:lnSpc>
                <a:spcPct val="150000"/>
              </a:lnSpc>
            </a:pPr>
            <a:r>
              <a:rPr lang="en-US" sz="2000" b="1" dirty="0">
                <a:solidFill>
                  <a:schemeClr val="accent2"/>
                </a:solidFill>
              </a:rPr>
              <a:t>Linking Relationships </a:t>
            </a:r>
            <a:r>
              <a:rPr lang="en-US" dirty="0"/>
              <a:t>– Ensuring accuracy when reporting on multiple forms.</a:t>
            </a:r>
          </a:p>
          <a:p>
            <a:pPr>
              <a:lnSpc>
                <a:spcPct val="150000"/>
              </a:lnSpc>
            </a:pPr>
            <a:r>
              <a:rPr lang="en-US" sz="2000" b="1" dirty="0">
                <a:solidFill>
                  <a:schemeClr val="accent2"/>
                </a:solidFill>
              </a:rPr>
              <a:t>When to Use Results </a:t>
            </a:r>
            <a:r>
              <a:rPr lang="en-US" dirty="0"/>
              <a:t>– More robust reporting tool available with Apricot Enterprise (360).</a:t>
            </a:r>
          </a:p>
        </p:txBody>
      </p:sp>
      <p:sp>
        <p:nvSpPr>
          <p:cNvPr id="4" name="Text Placeholder 3">
            <a:extLst>
              <a:ext uri="{FF2B5EF4-FFF2-40B4-BE49-F238E27FC236}">
                <a16:creationId xmlns:a16="http://schemas.microsoft.com/office/drawing/2014/main" id="{A14E447B-81A0-FB07-C66D-9173B1C11EC4}"/>
              </a:ext>
            </a:extLst>
          </p:cNvPr>
          <p:cNvSpPr>
            <a:spLocks noGrp="1"/>
          </p:cNvSpPr>
          <p:nvPr>
            <p:ph type="body" sz="half" idx="2"/>
          </p:nvPr>
        </p:nvSpPr>
        <p:spPr/>
        <p:txBody>
          <a:bodyPr/>
          <a:lstStyle/>
          <a:p>
            <a:endParaRPr lang="en-US"/>
          </a:p>
        </p:txBody>
      </p:sp>
      <p:sp>
        <p:nvSpPr>
          <p:cNvPr id="5" name="Rectangle 4" descr="Bar chart with solid fill">
            <a:extLst>
              <a:ext uri="{FF2B5EF4-FFF2-40B4-BE49-F238E27FC236}">
                <a16:creationId xmlns:a16="http://schemas.microsoft.com/office/drawing/2014/main" id="{776C7CE4-8D1B-B1C6-24CE-5AB4FA80550D}"/>
              </a:ext>
            </a:extLst>
          </p:cNvPr>
          <p:cNvSpPr/>
          <p:nvPr/>
        </p:nvSpPr>
        <p:spPr>
          <a:xfrm>
            <a:off x="90202"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662572"/>
              <a:satOff val="46413"/>
              <a:lumOff val="10345"/>
              <a:alphaOff val="0"/>
            </a:schemeClr>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887088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0059AC-D41D-71A9-1867-39835EFBCB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0A20AA-47BB-93E2-5EDC-C578FBA2B496}"/>
              </a:ext>
            </a:extLst>
          </p:cNvPr>
          <p:cNvSpPr>
            <a:spLocks noGrp="1"/>
          </p:cNvSpPr>
          <p:nvPr>
            <p:ph type="title"/>
          </p:nvPr>
        </p:nvSpPr>
        <p:spPr>
          <a:xfrm>
            <a:off x="1250111" y="406049"/>
            <a:ext cx="10484691" cy="594076"/>
          </a:xfrm>
        </p:spPr>
        <p:txBody>
          <a:bodyPr/>
          <a:lstStyle/>
          <a:p>
            <a:r>
              <a:rPr lang="en-US" dirty="0">
                <a:solidFill>
                  <a:schemeClr val="accent1"/>
                </a:solidFill>
              </a:rPr>
              <a:t>User Management</a:t>
            </a:r>
          </a:p>
        </p:txBody>
      </p:sp>
      <p:sp>
        <p:nvSpPr>
          <p:cNvPr id="3" name="Content Placeholder 2">
            <a:extLst>
              <a:ext uri="{FF2B5EF4-FFF2-40B4-BE49-F238E27FC236}">
                <a16:creationId xmlns:a16="http://schemas.microsoft.com/office/drawing/2014/main" id="{A647A3CD-AD3D-408B-A856-0A69C5E4F5E3}"/>
              </a:ext>
            </a:extLst>
          </p:cNvPr>
          <p:cNvSpPr>
            <a:spLocks noGrp="1"/>
          </p:cNvSpPr>
          <p:nvPr>
            <p:ph idx="1"/>
          </p:nvPr>
        </p:nvSpPr>
        <p:spPr>
          <a:xfrm>
            <a:off x="457202" y="1314451"/>
            <a:ext cx="4603314" cy="4847274"/>
          </a:xfrm>
        </p:spPr>
        <p:txBody>
          <a:bodyPr/>
          <a:lstStyle/>
          <a:p>
            <a:r>
              <a:rPr lang="en-US" sz="2000" b="1" dirty="0">
                <a:solidFill>
                  <a:schemeClr val="accent2"/>
                </a:solidFill>
              </a:rPr>
              <a:t>Sites &amp; Programs</a:t>
            </a:r>
          </a:p>
          <a:p>
            <a:pPr marL="285750" indent="-285750">
              <a:buFont typeface="Arial" panose="020B0604020202020204" pitchFamily="34" charset="0"/>
              <a:buChar char="•"/>
            </a:pPr>
            <a:r>
              <a:rPr lang="en-US" dirty="0"/>
              <a:t>Structure for organizing data &amp; controlling user access (digital file cabinet).</a:t>
            </a:r>
          </a:p>
          <a:p>
            <a:endParaRPr lang="en-US" dirty="0"/>
          </a:p>
          <a:p>
            <a:r>
              <a:rPr lang="en-US" sz="2000" b="1" dirty="0">
                <a:solidFill>
                  <a:schemeClr val="accent2"/>
                </a:solidFill>
              </a:rPr>
              <a:t>Role Based Permissions</a:t>
            </a:r>
          </a:p>
          <a:p>
            <a:pPr marL="285750" indent="-285750">
              <a:buFont typeface="Arial" panose="020B0604020202020204" pitchFamily="34" charset="0"/>
              <a:buChar char="•"/>
            </a:pPr>
            <a:r>
              <a:rPr lang="en-US" dirty="0"/>
              <a:t>Latest version of assigning access to view / create / edit records, reports &amp; more.</a:t>
            </a:r>
          </a:p>
          <a:p>
            <a:endParaRPr lang="en-US" dirty="0"/>
          </a:p>
          <a:p>
            <a:r>
              <a:rPr lang="en-US" sz="2000" b="1" dirty="0">
                <a:solidFill>
                  <a:schemeClr val="accent2"/>
                </a:solidFill>
              </a:rPr>
              <a:t>Caseloads (RLA)</a:t>
            </a:r>
          </a:p>
          <a:p>
            <a:pPr marL="285750" indent="-285750">
              <a:buFont typeface="Arial" panose="020B0604020202020204" pitchFamily="34" charset="0"/>
              <a:buChar char="•"/>
            </a:pPr>
            <a:r>
              <a:rPr lang="en-US" dirty="0"/>
              <a:t>Most strict level of access, assigning specific staff to individual Participants.</a:t>
            </a:r>
          </a:p>
        </p:txBody>
      </p:sp>
      <p:sp>
        <p:nvSpPr>
          <p:cNvPr id="5" name="Rectangle 4" descr="Group with solid fill">
            <a:extLst>
              <a:ext uri="{FF2B5EF4-FFF2-40B4-BE49-F238E27FC236}">
                <a16:creationId xmlns:a16="http://schemas.microsoft.com/office/drawing/2014/main" id="{CFF16B1D-9F86-7747-3FD1-F9CEDFAEA078}"/>
              </a:ext>
            </a:extLst>
          </p:cNvPr>
          <p:cNvSpPr/>
          <p:nvPr/>
        </p:nvSpPr>
        <p:spPr>
          <a:xfrm>
            <a:off x="152831"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883430"/>
              <a:satOff val="61884"/>
              <a:lumOff val="13793"/>
              <a:alphaOff val="0"/>
            </a:schemeClr>
          </a:effectRef>
          <a:fontRef idx="minor">
            <a:schemeClr val="lt1">
              <a:hueOff val="0"/>
              <a:satOff val="0"/>
              <a:lumOff val="0"/>
              <a:alphaOff val="0"/>
            </a:schemeClr>
          </a:fontRef>
        </p:style>
        <p:txBody>
          <a:bodyPr/>
          <a:lstStyle/>
          <a:p>
            <a:endParaRPr lang="en-US"/>
          </a:p>
        </p:txBody>
      </p:sp>
      <p:pic>
        <p:nvPicPr>
          <p:cNvPr id="7" name="Picture 6">
            <a:extLst>
              <a:ext uri="{FF2B5EF4-FFF2-40B4-BE49-F238E27FC236}">
                <a16:creationId xmlns:a16="http://schemas.microsoft.com/office/drawing/2014/main" id="{93202710-2D9B-4D09-7F87-1254CB8C9D91}"/>
              </a:ext>
            </a:extLst>
          </p:cNvPr>
          <p:cNvPicPr>
            <a:picLocks noChangeAspect="1"/>
          </p:cNvPicPr>
          <p:nvPr/>
        </p:nvPicPr>
        <p:blipFill>
          <a:blip r:embed="rId5"/>
          <a:stretch>
            <a:fillRect/>
          </a:stretch>
        </p:blipFill>
        <p:spPr>
          <a:xfrm>
            <a:off x="5559168" y="1314451"/>
            <a:ext cx="6175630" cy="42453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95252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39B47A-47CA-7BBC-7F44-DF7A9EB24B05}"/>
              </a:ext>
            </a:extLst>
          </p:cNvPr>
          <p:cNvSpPr>
            <a:spLocks noGrp="1"/>
          </p:cNvSpPr>
          <p:nvPr>
            <p:ph type="title"/>
          </p:nvPr>
        </p:nvSpPr>
        <p:spPr/>
        <p:txBody>
          <a:bodyPr/>
          <a:lstStyle/>
          <a:p>
            <a:r>
              <a:rPr lang="en-US" sz="3600" dirty="0">
                <a:solidFill>
                  <a:schemeClr val="accent1"/>
                </a:solidFill>
              </a:rPr>
              <a:t>Meet Your Trainer</a:t>
            </a:r>
            <a:endParaRPr lang="en-US" dirty="0">
              <a:solidFill>
                <a:schemeClr val="accent1"/>
              </a:solidFill>
            </a:endParaRPr>
          </a:p>
        </p:txBody>
      </p:sp>
      <p:sp>
        <p:nvSpPr>
          <p:cNvPr id="8" name="Content Placeholder 2">
            <a:extLst>
              <a:ext uri="{FF2B5EF4-FFF2-40B4-BE49-F238E27FC236}">
                <a16:creationId xmlns:a16="http://schemas.microsoft.com/office/drawing/2014/main" id="{1560C710-D69C-5176-25B1-E2F830451C7A}"/>
              </a:ext>
            </a:extLst>
          </p:cNvPr>
          <p:cNvSpPr txBox="1">
            <a:spLocks/>
          </p:cNvSpPr>
          <p:nvPr/>
        </p:nvSpPr>
        <p:spPr>
          <a:xfrm>
            <a:off x="457200" y="2140226"/>
            <a:ext cx="6103423" cy="2577548"/>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225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75"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63"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88"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accent1"/>
                </a:solidFill>
                <a:latin typeface="+mj-lt"/>
              </a:rPr>
              <a:t>TRAINER NAME</a:t>
            </a:r>
          </a:p>
          <a:p>
            <a:r>
              <a:rPr lang="en-US" sz="2800" dirty="0">
                <a:solidFill>
                  <a:schemeClr val="accent1"/>
                </a:solidFill>
                <a:latin typeface="+mj-lt"/>
              </a:rPr>
              <a:t>TRAINER ROLE</a:t>
            </a:r>
          </a:p>
          <a:p>
            <a:endParaRPr lang="en-US" sz="4000" dirty="0">
              <a:solidFill>
                <a:schemeClr val="accent1"/>
              </a:solidFill>
              <a:latin typeface="+mj-lt"/>
            </a:endParaRPr>
          </a:p>
          <a:p>
            <a:r>
              <a:rPr lang="en-US" sz="2400" dirty="0">
                <a:solidFill>
                  <a:schemeClr val="accent1"/>
                </a:solidFill>
                <a:latin typeface="+mj-lt"/>
                <a:hlinkClick r:id="rId3"/>
              </a:rPr>
              <a:t>ClientTrainingRequests@BonterraTech.com</a:t>
            </a:r>
            <a:r>
              <a:rPr lang="en-US" sz="2400" dirty="0">
                <a:solidFill>
                  <a:schemeClr val="accent1"/>
                </a:solidFill>
                <a:latin typeface="+mj-lt"/>
              </a:rPr>
              <a:t> </a:t>
            </a:r>
          </a:p>
        </p:txBody>
      </p:sp>
    </p:spTree>
    <p:extLst>
      <p:ext uri="{BB962C8B-B14F-4D97-AF65-F5344CB8AC3E}">
        <p14:creationId xmlns:p14="http://schemas.microsoft.com/office/powerpoint/2010/main" val="325363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0D235-60FA-51F0-629E-AC880332C7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516486-F582-B960-0AC2-F415E9961843}"/>
              </a:ext>
            </a:extLst>
          </p:cNvPr>
          <p:cNvSpPr>
            <a:spLocks noGrp="1"/>
          </p:cNvSpPr>
          <p:nvPr>
            <p:ph type="title"/>
          </p:nvPr>
        </p:nvSpPr>
        <p:spPr>
          <a:xfrm>
            <a:off x="1250111" y="406049"/>
            <a:ext cx="10484691" cy="594076"/>
          </a:xfrm>
        </p:spPr>
        <p:txBody>
          <a:bodyPr/>
          <a:lstStyle/>
          <a:p>
            <a:r>
              <a:rPr lang="en-US" dirty="0">
                <a:solidFill>
                  <a:schemeClr val="accent1"/>
                </a:solidFill>
              </a:rPr>
              <a:t>User Management</a:t>
            </a:r>
          </a:p>
        </p:txBody>
      </p:sp>
      <p:sp>
        <p:nvSpPr>
          <p:cNvPr id="3" name="Content Placeholder 2">
            <a:extLst>
              <a:ext uri="{FF2B5EF4-FFF2-40B4-BE49-F238E27FC236}">
                <a16:creationId xmlns:a16="http://schemas.microsoft.com/office/drawing/2014/main" id="{43497F08-81B8-87B5-C0E1-4F73C9A35A86}"/>
              </a:ext>
            </a:extLst>
          </p:cNvPr>
          <p:cNvSpPr>
            <a:spLocks noGrp="1"/>
          </p:cNvSpPr>
          <p:nvPr>
            <p:ph idx="1"/>
          </p:nvPr>
        </p:nvSpPr>
        <p:spPr>
          <a:xfrm>
            <a:off x="457202" y="1314451"/>
            <a:ext cx="5417506" cy="4847274"/>
          </a:xfrm>
        </p:spPr>
        <p:txBody>
          <a:bodyPr/>
          <a:lstStyle/>
          <a:p>
            <a:r>
              <a:rPr lang="en-US" sz="2000" b="1" dirty="0">
                <a:solidFill>
                  <a:schemeClr val="accent2"/>
                </a:solidFill>
              </a:rPr>
              <a:t>Managing Users</a:t>
            </a:r>
          </a:p>
          <a:p>
            <a:pPr marL="285750" indent="-285750">
              <a:buFont typeface="Arial" panose="020B0604020202020204" pitchFamily="34" charset="0"/>
              <a:buChar char="•"/>
            </a:pPr>
            <a:r>
              <a:rPr lang="en-US" dirty="0"/>
              <a:t>Create individual </a:t>
            </a:r>
            <a:r>
              <a:rPr lang="en-US" b="1" dirty="0"/>
              <a:t>named users </a:t>
            </a:r>
            <a:r>
              <a:rPr lang="en-US" dirty="0"/>
              <a:t>for each staff.</a:t>
            </a:r>
          </a:p>
          <a:p>
            <a:pPr marL="285750" indent="-285750">
              <a:buFont typeface="Arial" panose="020B0604020202020204" pitchFamily="34" charset="0"/>
              <a:buChar char="•"/>
            </a:pPr>
            <a:r>
              <a:rPr lang="en-US" dirty="0"/>
              <a:t>Manage access &amp; data security via </a:t>
            </a:r>
            <a:r>
              <a:rPr lang="en-US" b="1" dirty="0"/>
              <a:t>Roles</a:t>
            </a:r>
            <a:r>
              <a:rPr lang="en-US" dirty="0"/>
              <a:t>.</a:t>
            </a:r>
          </a:p>
        </p:txBody>
      </p:sp>
      <p:sp>
        <p:nvSpPr>
          <p:cNvPr id="5" name="Rectangle 4" descr="Group with solid fill">
            <a:extLst>
              <a:ext uri="{FF2B5EF4-FFF2-40B4-BE49-F238E27FC236}">
                <a16:creationId xmlns:a16="http://schemas.microsoft.com/office/drawing/2014/main" id="{BFB366DA-C1EE-44C6-5957-3679A721658E}"/>
              </a:ext>
            </a:extLst>
          </p:cNvPr>
          <p:cNvSpPr/>
          <p:nvPr/>
        </p:nvSpPr>
        <p:spPr>
          <a:xfrm>
            <a:off x="152831"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883430"/>
              <a:satOff val="61884"/>
              <a:lumOff val="13793"/>
              <a:alphaOff val="0"/>
            </a:schemeClr>
          </a:effectRef>
          <a:fontRef idx="minor">
            <a:schemeClr val="lt1">
              <a:hueOff val="0"/>
              <a:satOff val="0"/>
              <a:lumOff val="0"/>
              <a:alphaOff val="0"/>
            </a:schemeClr>
          </a:fontRef>
        </p:style>
        <p:txBody>
          <a:bodyPr/>
          <a:lstStyle/>
          <a:p>
            <a:endParaRPr lang="en-US"/>
          </a:p>
        </p:txBody>
      </p:sp>
      <p:sp>
        <p:nvSpPr>
          <p:cNvPr id="6" name="Content Placeholder 2">
            <a:extLst>
              <a:ext uri="{FF2B5EF4-FFF2-40B4-BE49-F238E27FC236}">
                <a16:creationId xmlns:a16="http://schemas.microsoft.com/office/drawing/2014/main" id="{FF0D0B5A-0F1E-0335-991C-FBE6DCBC72BD}"/>
              </a:ext>
            </a:extLst>
          </p:cNvPr>
          <p:cNvSpPr txBox="1">
            <a:spLocks/>
          </p:cNvSpPr>
          <p:nvPr/>
        </p:nvSpPr>
        <p:spPr>
          <a:xfrm>
            <a:off x="6317294" y="1314451"/>
            <a:ext cx="5417506" cy="4847274"/>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Advanced Access</a:t>
            </a:r>
          </a:p>
          <a:p>
            <a:pPr marL="285750" indent="-285750">
              <a:buFont typeface="Arial" panose="020B0604020202020204" pitchFamily="34" charset="0"/>
              <a:buChar char="•"/>
            </a:pPr>
            <a:r>
              <a:rPr lang="en-US" dirty="0"/>
              <a:t>Permissions in between full Admin &amp; Standard User to allow for support with Admin activities.</a:t>
            </a:r>
          </a:p>
        </p:txBody>
      </p:sp>
      <p:pic>
        <p:nvPicPr>
          <p:cNvPr id="7" name="Picture 6">
            <a:extLst>
              <a:ext uri="{FF2B5EF4-FFF2-40B4-BE49-F238E27FC236}">
                <a16:creationId xmlns:a16="http://schemas.microsoft.com/office/drawing/2014/main" id="{C32356D1-E405-CA63-6DBE-259DE1E19C92}"/>
              </a:ext>
            </a:extLst>
          </p:cNvPr>
          <p:cNvPicPr>
            <a:picLocks noChangeAspect="1"/>
          </p:cNvPicPr>
          <p:nvPr/>
        </p:nvPicPr>
        <p:blipFill>
          <a:blip r:embed="rId5"/>
          <a:srcRect b="15781"/>
          <a:stretch/>
        </p:blipFill>
        <p:spPr>
          <a:xfrm>
            <a:off x="701471" y="2761469"/>
            <a:ext cx="4400802" cy="3275916"/>
          </a:xfrm>
          <a:prstGeom prst="rect">
            <a:avLst/>
          </a:prstGeom>
          <a:ln>
            <a:noFill/>
          </a:ln>
          <a:effectLst>
            <a:outerShdw blurRad="292100" dist="139700" dir="2700000" algn="tl" rotWithShape="0">
              <a:srgbClr val="333333">
                <a:alpha val="65000"/>
              </a:srgbClr>
            </a:outerShdw>
          </a:effectLst>
        </p:spPr>
      </p:pic>
      <p:graphicFrame>
        <p:nvGraphicFramePr>
          <p:cNvPr id="8" name="Content Placeholder 8">
            <a:extLst>
              <a:ext uri="{FF2B5EF4-FFF2-40B4-BE49-F238E27FC236}">
                <a16:creationId xmlns:a16="http://schemas.microsoft.com/office/drawing/2014/main" id="{998B6C6F-79CF-6234-EDFA-4AE4B5E78991}"/>
              </a:ext>
            </a:extLst>
          </p:cNvPr>
          <p:cNvGraphicFramePr>
            <a:graphicFrameLocks/>
          </p:cNvGraphicFramePr>
          <p:nvPr>
            <p:extLst>
              <p:ext uri="{D42A27DB-BD31-4B8C-83A1-F6EECF244321}">
                <p14:modId xmlns:p14="http://schemas.microsoft.com/office/powerpoint/2010/main" val="2831757577"/>
              </p:ext>
            </p:extLst>
          </p:nvPr>
        </p:nvGraphicFramePr>
        <p:xfrm>
          <a:off x="6220656" y="2701799"/>
          <a:ext cx="5417506" cy="339525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7663204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68619E-87C1-7458-E5E1-B38E728E42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118D7B-D6D2-8406-CBB1-813EBA501525}"/>
              </a:ext>
            </a:extLst>
          </p:cNvPr>
          <p:cNvSpPr>
            <a:spLocks noGrp="1"/>
          </p:cNvSpPr>
          <p:nvPr>
            <p:ph type="title"/>
          </p:nvPr>
        </p:nvSpPr>
        <p:spPr>
          <a:xfrm>
            <a:off x="1187481" y="406049"/>
            <a:ext cx="10547321" cy="594076"/>
          </a:xfrm>
        </p:spPr>
        <p:txBody>
          <a:bodyPr/>
          <a:lstStyle/>
          <a:p>
            <a:r>
              <a:rPr lang="en-US" dirty="0">
                <a:solidFill>
                  <a:schemeClr val="accent1"/>
                </a:solidFill>
              </a:rPr>
              <a:t>Data Management</a:t>
            </a:r>
          </a:p>
        </p:txBody>
      </p:sp>
      <p:sp>
        <p:nvSpPr>
          <p:cNvPr id="3" name="Content Placeholder 2">
            <a:extLst>
              <a:ext uri="{FF2B5EF4-FFF2-40B4-BE49-F238E27FC236}">
                <a16:creationId xmlns:a16="http://schemas.microsoft.com/office/drawing/2014/main" id="{620F929B-5178-DADD-EA77-AC9C3FB07DF0}"/>
              </a:ext>
            </a:extLst>
          </p:cNvPr>
          <p:cNvSpPr>
            <a:spLocks noGrp="1"/>
          </p:cNvSpPr>
          <p:nvPr>
            <p:ph idx="1"/>
          </p:nvPr>
        </p:nvSpPr>
        <p:spPr>
          <a:xfrm>
            <a:off x="457202" y="1406173"/>
            <a:ext cx="5417506" cy="4755551"/>
          </a:xfrm>
        </p:spPr>
        <p:txBody>
          <a:bodyPr/>
          <a:lstStyle/>
          <a:p>
            <a:r>
              <a:rPr lang="en-US" sz="2000" b="1" dirty="0">
                <a:solidFill>
                  <a:schemeClr val="accent2"/>
                </a:solidFill>
              </a:rPr>
              <a:t>Record Audit</a:t>
            </a:r>
          </a:p>
          <a:p>
            <a:pPr marL="285750" indent="-285750">
              <a:buFont typeface="Arial" panose="020B0604020202020204" pitchFamily="34" charset="0"/>
              <a:buChar char="•"/>
            </a:pPr>
            <a:r>
              <a:rPr lang="en-US" dirty="0"/>
              <a:t>Overall view of </a:t>
            </a:r>
            <a:r>
              <a:rPr lang="en-US" b="1" dirty="0"/>
              <a:t>user activity </a:t>
            </a:r>
            <a:r>
              <a:rPr lang="en-US" dirty="0"/>
              <a:t>in your database, including records created, modified, archived, etc.</a:t>
            </a:r>
          </a:p>
          <a:p>
            <a:pPr marL="285750" indent="-285750">
              <a:buFont typeface="Arial" panose="020B0604020202020204" pitchFamily="34" charset="0"/>
              <a:buChar char="•"/>
            </a:pPr>
            <a:r>
              <a:rPr lang="en-US" dirty="0"/>
              <a:t>Track how your data is being </a:t>
            </a:r>
            <a:r>
              <a:rPr lang="en-US" b="1" dirty="0"/>
              <a:t>accessed &amp; edited</a:t>
            </a:r>
            <a:r>
              <a:rPr lang="en-US" dirty="0"/>
              <a:t>.</a:t>
            </a:r>
          </a:p>
          <a:p>
            <a:pPr marL="285750" indent="-285750">
              <a:buFont typeface="Arial" panose="020B0604020202020204" pitchFamily="34" charset="0"/>
              <a:buChar char="•"/>
            </a:pPr>
            <a:r>
              <a:rPr lang="en-US" dirty="0"/>
              <a:t>Use for </a:t>
            </a:r>
            <a:r>
              <a:rPr lang="en-US" b="1" dirty="0"/>
              <a:t>coaching</a:t>
            </a:r>
            <a:r>
              <a:rPr lang="en-US" dirty="0"/>
              <a:t> users on best practices.</a:t>
            </a:r>
          </a:p>
          <a:p>
            <a:pPr marL="285750" indent="-285750">
              <a:buFont typeface="Arial" panose="020B0604020202020204" pitchFamily="34" charset="0"/>
              <a:buChar char="•"/>
            </a:pPr>
            <a:endParaRPr lang="en-US" dirty="0"/>
          </a:p>
          <a:p>
            <a:r>
              <a:rPr lang="en-US" sz="2000" b="1" dirty="0">
                <a:solidFill>
                  <a:schemeClr val="accent2"/>
                </a:solidFill>
              </a:rPr>
              <a:t>Record History</a:t>
            </a:r>
          </a:p>
          <a:p>
            <a:pPr marL="285750" indent="-285750">
              <a:buFont typeface="Arial" panose="020B0604020202020204" pitchFamily="34" charset="0"/>
              <a:buChar char="•"/>
            </a:pPr>
            <a:r>
              <a:rPr lang="en-US" dirty="0"/>
              <a:t>Individual </a:t>
            </a:r>
            <a:r>
              <a:rPr lang="en-US" b="1" dirty="0"/>
              <a:t>record activity </a:t>
            </a:r>
            <a:r>
              <a:rPr lang="en-US" dirty="0"/>
              <a:t>with option to compare modifications &amp; restore past versions.</a:t>
            </a:r>
          </a:p>
          <a:p>
            <a:endParaRPr lang="en-US" dirty="0"/>
          </a:p>
        </p:txBody>
      </p:sp>
      <p:sp>
        <p:nvSpPr>
          <p:cNvPr id="4" name="Text Placeholder 3">
            <a:extLst>
              <a:ext uri="{FF2B5EF4-FFF2-40B4-BE49-F238E27FC236}">
                <a16:creationId xmlns:a16="http://schemas.microsoft.com/office/drawing/2014/main" id="{BD1B2198-CE63-8C6F-0BB7-2B0F512D9392}"/>
              </a:ext>
            </a:extLst>
          </p:cNvPr>
          <p:cNvSpPr>
            <a:spLocks noGrp="1"/>
          </p:cNvSpPr>
          <p:nvPr>
            <p:ph type="body" sz="half" idx="2"/>
          </p:nvPr>
        </p:nvSpPr>
        <p:spPr/>
        <p:txBody>
          <a:bodyPr/>
          <a:lstStyle/>
          <a:p>
            <a:endParaRPr lang="en-US"/>
          </a:p>
        </p:txBody>
      </p:sp>
      <p:sp>
        <p:nvSpPr>
          <p:cNvPr id="5" name="Rectangle 4" descr="Folder Search with solid fill">
            <a:extLst>
              <a:ext uri="{FF2B5EF4-FFF2-40B4-BE49-F238E27FC236}">
                <a16:creationId xmlns:a16="http://schemas.microsoft.com/office/drawing/2014/main" id="{B7C3826B-879B-08C9-CB58-70576C69B6C4}"/>
              </a:ext>
            </a:extLst>
          </p:cNvPr>
          <p:cNvSpPr/>
          <p:nvPr/>
        </p:nvSpPr>
        <p:spPr>
          <a:xfrm>
            <a:off x="90201" y="0"/>
            <a:ext cx="1097280" cy="118872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1104287"/>
              <a:satOff val="77355"/>
              <a:lumOff val="17241"/>
              <a:alphaOff val="0"/>
            </a:schemeClr>
          </a:effectRef>
          <a:fontRef idx="minor">
            <a:schemeClr val="lt1">
              <a:hueOff val="0"/>
              <a:satOff val="0"/>
              <a:lumOff val="0"/>
              <a:alphaOff val="0"/>
            </a:schemeClr>
          </a:fontRef>
        </p:style>
        <p:txBody>
          <a:bodyPr/>
          <a:lstStyle/>
          <a:p>
            <a:endParaRPr lang="en-US"/>
          </a:p>
        </p:txBody>
      </p:sp>
      <p:sp>
        <p:nvSpPr>
          <p:cNvPr id="6" name="Content Placeholder 2">
            <a:extLst>
              <a:ext uri="{FF2B5EF4-FFF2-40B4-BE49-F238E27FC236}">
                <a16:creationId xmlns:a16="http://schemas.microsoft.com/office/drawing/2014/main" id="{406F9EAF-E5BF-5BB1-6266-070A49AF73C1}"/>
              </a:ext>
            </a:extLst>
          </p:cNvPr>
          <p:cNvSpPr txBox="1">
            <a:spLocks/>
          </p:cNvSpPr>
          <p:nvPr/>
        </p:nvSpPr>
        <p:spPr>
          <a:xfrm>
            <a:off x="6317294" y="1406173"/>
            <a:ext cx="5417506" cy="4755551"/>
          </a:xfrm>
          <a:prstGeom prst="rect">
            <a:avLst/>
          </a:prstGeom>
        </p:spPr>
        <p:txBody>
          <a:bodyPr vert="horz" lIns="0" tIns="0" rIns="0" bIns="0" rtlCol="0">
            <a:noAutofit/>
          </a:bodyPr>
          <a:lstStyle>
            <a:lvl1pPr marL="0" indent="0" algn="l" defTabSz="914377"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594" indent="-222245" algn="l" defTabSz="914377"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57"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34"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48" indent="-230182" algn="l" defTabSz="914377"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accent2"/>
                </a:solidFill>
              </a:rPr>
              <a:t>Archiving Records</a:t>
            </a:r>
          </a:p>
          <a:p>
            <a:pPr marL="285750" indent="-285750">
              <a:buFont typeface="Arial" panose="020B0604020202020204" pitchFamily="34" charset="0"/>
              <a:buChar char="•"/>
            </a:pPr>
            <a:r>
              <a:rPr lang="en-US" dirty="0"/>
              <a:t>Closest option to </a:t>
            </a:r>
            <a:r>
              <a:rPr lang="en-US" b="1" dirty="0"/>
              <a:t>deleting</a:t>
            </a:r>
            <a:r>
              <a:rPr lang="en-US" dirty="0"/>
              <a:t> records.</a:t>
            </a:r>
          </a:p>
          <a:p>
            <a:pPr marL="285750" indent="-285750">
              <a:buFont typeface="Arial" panose="020B0604020202020204" pitchFamily="34" charset="0"/>
              <a:buChar char="•"/>
            </a:pPr>
            <a:r>
              <a:rPr lang="en-US" dirty="0"/>
              <a:t>Can be </a:t>
            </a:r>
            <a:r>
              <a:rPr lang="en-US" b="1" dirty="0"/>
              <a:t>restored</a:t>
            </a:r>
            <a:r>
              <a:rPr lang="en-US" dirty="0"/>
              <a:t>, one record at a time.</a:t>
            </a:r>
          </a:p>
          <a:p>
            <a:endParaRPr lang="en-US" sz="2000" dirty="0"/>
          </a:p>
        </p:txBody>
      </p:sp>
      <p:pic>
        <p:nvPicPr>
          <p:cNvPr id="2050" name="Picture 2">
            <a:extLst>
              <a:ext uri="{FF2B5EF4-FFF2-40B4-BE49-F238E27FC236}">
                <a16:creationId xmlns:a16="http://schemas.microsoft.com/office/drawing/2014/main" id="{A0034664-6C96-D04B-FE65-20C77B2C1F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5998" y="3429000"/>
            <a:ext cx="4940648" cy="24272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4169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49785-ECAB-FB73-56B8-2B68E48BF37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FAC0AB-8FFC-BB22-D8CB-41302449F3D3}"/>
              </a:ext>
            </a:extLst>
          </p:cNvPr>
          <p:cNvSpPr>
            <a:spLocks noGrp="1"/>
          </p:cNvSpPr>
          <p:nvPr>
            <p:ph type="title"/>
          </p:nvPr>
        </p:nvSpPr>
        <p:spPr>
          <a:xfrm>
            <a:off x="1158672" y="406049"/>
            <a:ext cx="10576130" cy="594076"/>
          </a:xfrm>
        </p:spPr>
        <p:txBody>
          <a:bodyPr/>
          <a:lstStyle/>
          <a:p>
            <a:r>
              <a:rPr lang="en-US" dirty="0">
                <a:solidFill>
                  <a:schemeClr val="accent1"/>
                </a:solidFill>
              </a:rPr>
              <a:t>Additional Features</a:t>
            </a:r>
          </a:p>
        </p:txBody>
      </p:sp>
      <p:sp>
        <p:nvSpPr>
          <p:cNvPr id="3" name="Content Placeholder 2">
            <a:extLst>
              <a:ext uri="{FF2B5EF4-FFF2-40B4-BE49-F238E27FC236}">
                <a16:creationId xmlns:a16="http://schemas.microsoft.com/office/drawing/2014/main" id="{95CF0A59-12BB-989D-E2FC-ECC13A20404B}"/>
              </a:ext>
            </a:extLst>
          </p:cNvPr>
          <p:cNvSpPr>
            <a:spLocks noGrp="1"/>
          </p:cNvSpPr>
          <p:nvPr>
            <p:ph idx="1"/>
          </p:nvPr>
        </p:nvSpPr>
        <p:spPr>
          <a:xfrm>
            <a:off x="457201" y="1503329"/>
            <a:ext cx="11277599" cy="4658396"/>
          </a:xfrm>
        </p:spPr>
        <p:txBody>
          <a:bodyPr/>
          <a:lstStyle/>
          <a:p>
            <a:pPr>
              <a:lnSpc>
                <a:spcPct val="150000"/>
              </a:lnSpc>
            </a:pPr>
            <a:r>
              <a:rPr lang="en-US" sz="2000" b="1" dirty="0">
                <a:solidFill>
                  <a:schemeClr val="accent2"/>
                </a:solidFill>
              </a:rPr>
              <a:t>Workflows</a:t>
            </a:r>
            <a:r>
              <a:rPr lang="en-US" sz="2000" dirty="0"/>
              <a:t> – </a:t>
            </a:r>
            <a:r>
              <a:rPr lang="en-US" sz="2000" b="0" i="0" dirty="0">
                <a:solidFill>
                  <a:srgbClr val="14022D"/>
                </a:solidFill>
                <a:effectLst/>
                <a:latin typeface="Arial" panose="020B0604020202020204" pitchFamily="34" charset="0"/>
              </a:rPr>
              <a:t>Pre-built path of forms to complete by Program or situation.​</a:t>
            </a:r>
            <a:endParaRPr lang="en-US" sz="2000" dirty="0"/>
          </a:p>
          <a:p>
            <a:pPr>
              <a:lnSpc>
                <a:spcPct val="150000"/>
              </a:lnSpc>
            </a:pPr>
            <a:r>
              <a:rPr lang="en-US" sz="2000" b="1" dirty="0">
                <a:solidFill>
                  <a:schemeClr val="accent2"/>
                </a:solidFill>
              </a:rPr>
              <a:t>Bulletins</a:t>
            </a:r>
            <a:r>
              <a:rPr lang="en-US" sz="2000" dirty="0"/>
              <a:t> – Announcements, reports, resources &amp; more featured on home page.</a:t>
            </a:r>
          </a:p>
          <a:p>
            <a:pPr>
              <a:lnSpc>
                <a:spcPct val="150000"/>
              </a:lnSpc>
            </a:pPr>
            <a:r>
              <a:rPr lang="en-US" sz="2000" b="1" dirty="0">
                <a:solidFill>
                  <a:schemeClr val="accent2"/>
                </a:solidFill>
              </a:rPr>
              <a:t>Schedule</a:t>
            </a:r>
            <a:r>
              <a:rPr lang="en-US" sz="2000" dirty="0"/>
              <a:t> – </a:t>
            </a:r>
            <a:r>
              <a:rPr lang="en-US" sz="2000" b="0" i="0" dirty="0">
                <a:solidFill>
                  <a:srgbClr val="14022D"/>
                </a:solidFill>
                <a:effectLst/>
                <a:latin typeface="Arial" panose="020B0604020202020204" pitchFamily="34" charset="0"/>
              </a:rPr>
              <a:t>Calendar integration to view &amp; book appointments with Participants.​</a:t>
            </a:r>
            <a:endParaRPr lang="en-US" sz="2000" dirty="0"/>
          </a:p>
          <a:p>
            <a:pPr>
              <a:lnSpc>
                <a:spcPct val="150000"/>
              </a:lnSpc>
            </a:pPr>
            <a:r>
              <a:rPr lang="en-US" sz="2000" b="1" dirty="0">
                <a:solidFill>
                  <a:schemeClr val="accent2"/>
                </a:solidFill>
              </a:rPr>
              <a:t>Rules &amp; Alerts </a:t>
            </a:r>
            <a:r>
              <a:rPr lang="en-US" sz="2000" dirty="0"/>
              <a:t>– </a:t>
            </a:r>
            <a:r>
              <a:rPr lang="en-US" sz="2000" b="0" i="0" dirty="0">
                <a:solidFill>
                  <a:srgbClr val="14022D"/>
                </a:solidFill>
                <a:effectLst/>
                <a:latin typeface="Arial" panose="020B0604020202020204" pitchFamily="34" charset="0"/>
              </a:rPr>
              <a:t>Surfacing notifications for urgent situations or action required.​</a:t>
            </a:r>
            <a:endParaRPr lang="en-US" sz="2000" dirty="0"/>
          </a:p>
          <a:p>
            <a:pPr>
              <a:lnSpc>
                <a:spcPct val="150000"/>
              </a:lnSpc>
            </a:pPr>
            <a:r>
              <a:rPr lang="en-US" sz="2000" b="1" dirty="0">
                <a:solidFill>
                  <a:schemeClr val="accent2"/>
                </a:solidFill>
              </a:rPr>
              <a:t>Intake Forms </a:t>
            </a:r>
            <a:r>
              <a:rPr lang="en-US" sz="2000" dirty="0"/>
              <a:t>– </a:t>
            </a:r>
            <a:r>
              <a:rPr lang="en-US" sz="2000" dirty="0">
                <a:solidFill>
                  <a:srgbClr val="14022D"/>
                </a:solidFill>
                <a:latin typeface="Arial" panose="020B0604020202020204" pitchFamily="34" charset="0"/>
              </a:rPr>
              <a:t>E</a:t>
            </a:r>
            <a:r>
              <a:rPr lang="en-US" sz="2000" b="0" i="0" dirty="0">
                <a:solidFill>
                  <a:srgbClr val="14022D"/>
                </a:solidFill>
                <a:effectLst/>
                <a:latin typeface="Arial" panose="020B0604020202020204" pitchFamily="34" charset="0"/>
              </a:rPr>
              <a:t>xternal version of Tier 1 forms (Application, Referral, Request).​</a:t>
            </a:r>
            <a:endParaRPr lang="en-US" sz="2000" dirty="0"/>
          </a:p>
          <a:p>
            <a:pPr>
              <a:lnSpc>
                <a:spcPct val="150000"/>
              </a:lnSpc>
            </a:pPr>
            <a:r>
              <a:rPr lang="en-US" sz="2000" b="1" dirty="0">
                <a:solidFill>
                  <a:schemeClr val="accent2"/>
                </a:solidFill>
              </a:rPr>
              <a:t>Connect</a:t>
            </a:r>
            <a:r>
              <a:rPr lang="en-US" sz="2000" dirty="0"/>
              <a:t> – </a:t>
            </a:r>
            <a:r>
              <a:rPr lang="en-US" sz="2000" b="0" i="0" dirty="0">
                <a:solidFill>
                  <a:srgbClr val="14022D"/>
                </a:solidFill>
                <a:effectLst/>
                <a:latin typeface="Arial" panose="020B0604020202020204" pitchFamily="34" charset="0"/>
              </a:rPr>
              <a:t>Portal to access forms &amp; messaging for existing Participants.​</a:t>
            </a:r>
            <a:endParaRPr lang="en-US" sz="2000" dirty="0"/>
          </a:p>
          <a:p>
            <a:pPr>
              <a:lnSpc>
                <a:spcPct val="150000"/>
              </a:lnSpc>
            </a:pPr>
            <a:r>
              <a:rPr lang="en-US" sz="2000" b="1" dirty="0">
                <a:solidFill>
                  <a:schemeClr val="accent2"/>
                </a:solidFill>
              </a:rPr>
              <a:t>Inventory</a:t>
            </a:r>
            <a:r>
              <a:rPr lang="en-US" sz="2000" dirty="0"/>
              <a:t> – </a:t>
            </a:r>
            <a:r>
              <a:rPr lang="en-US" sz="2000" b="0" i="0" dirty="0">
                <a:solidFill>
                  <a:srgbClr val="14022D"/>
                </a:solidFill>
                <a:effectLst/>
                <a:latin typeface="Arial" panose="020B0604020202020204" pitchFamily="34" charset="0"/>
              </a:rPr>
              <a:t>Tracking distribution of physical assets like Beds, Technology, Clothing.​</a:t>
            </a:r>
            <a:endParaRPr lang="en-US" sz="2000" dirty="0"/>
          </a:p>
        </p:txBody>
      </p:sp>
      <p:sp>
        <p:nvSpPr>
          <p:cNvPr id="4" name="Text Placeholder 3">
            <a:extLst>
              <a:ext uri="{FF2B5EF4-FFF2-40B4-BE49-F238E27FC236}">
                <a16:creationId xmlns:a16="http://schemas.microsoft.com/office/drawing/2014/main" id="{093C11F7-2293-6A75-C8E5-168D339F0B65}"/>
              </a:ext>
            </a:extLst>
          </p:cNvPr>
          <p:cNvSpPr>
            <a:spLocks noGrp="1"/>
          </p:cNvSpPr>
          <p:nvPr>
            <p:ph type="body" sz="half" idx="2"/>
          </p:nvPr>
        </p:nvSpPr>
        <p:spPr/>
        <p:txBody>
          <a:bodyPr/>
          <a:lstStyle/>
          <a:p>
            <a:endParaRPr lang="en-US"/>
          </a:p>
        </p:txBody>
      </p:sp>
      <p:sp>
        <p:nvSpPr>
          <p:cNvPr id="5" name="Rectangle 4" descr="Tools with solid fill">
            <a:extLst>
              <a:ext uri="{FF2B5EF4-FFF2-40B4-BE49-F238E27FC236}">
                <a16:creationId xmlns:a16="http://schemas.microsoft.com/office/drawing/2014/main" id="{3469055F-D31E-F261-AC1B-D990B8A629A3}"/>
              </a:ext>
            </a:extLst>
          </p:cNvPr>
          <p:cNvSpPr/>
          <p:nvPr/>
        </p:nvSpPr>
        <p:spPr>
          <a:xfrm>
            <a:off x="152832" y="101915"/>
            <a:ext cx="1005840" cy="1097280"/>
          </a:xfrm>
          <a:prstGeom prst="rect">
            <a:avLst/>
          </a:prstGeom>
          <a:blipFill>
            <a:blip r:embed="rId3">
              <a:extLs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1325144"/>
              <a:satOff val="92826"/>
              <a:lumOff val="20689"/>
              <a:alphaOff val="0"/>
            </a:schemeClr>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2346909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896300-ECC9-BB92-E76D-7747A60D8F8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32F44F9-0134-5344-9D8F-C29C2B6369B2}"/>
              </a:ext>
            </a:extLst>
          </p:cNvPr>
          <p:cNvSpPr>
            <a:spLocks noGrp="1"/>
          </p:cNvSpPr>
          <p:nvPr>
            <p:ph type="ctrTitle"/>
          </p:nvPr>
        </p:nvSpPr>
        <p:spPr>
          <a:xfrm>
            <a:off x="1492380" y="2148840"/>
            <a:ext cx="9207239" cy="2560320"/>
          </a:xfrm>
        </p:spPr>
        <p:txBody>
          <a:bodyPr/>
          <a:lstStyle/>
          <a:p>
            <a:pPr algn="ctr"/>
            <a:r>
              <a:rPr lang="en-US" dirty="0"/>
              <a:t>Recommended Training</a:t>
            </a:r>
          </a:p>
        </p:txBody>
      </p:sp>
    </p:spTree>
    <p:extLst>
      <p:ext uri="{BB962C8B-B14F-4D97-AF65-F5344CB8AC3E}">
        <p14:creationId xmlns:p14="http://schemas.microsoft.com/office/powerpoint/2010/main" val="30414792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B53D08-7811-707C-FC6D-053F7B264D91}"/>
              </a:ext>
            </a:extLst>
          </p:cNvPr>
          <p:cNvSpPr/>
          <p:nvPr/>
        </p:nvSpPr>
        <p:spPr>
          <a:xfrm>
            <a:off x="10258566" y="2496397"/>
            <a:ext cx="1690053" cy="234741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58710C-6A8C-C01F-6DE7-C4AAC30F8BB9}"/>
              </a:ext>
            </a:extLst>
          </p:cNvPr>
          <p:cNvSpPr/>
          <p:nvPr/>
        </p:nvSpPr>
        <p:spPr>
          <a:xfrm>
            <a:off x="302522" y="2470245"/>
            <a:ext cx="1690053" cy="234741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247B611-A234-4B13-E9F0-E8A6FDEA1625}"/>
              </a:ext>
            </a:extLst>
          </p:cNvPr>
          <p:cNvSpPr>
            <a:spLocks noGrp="1"/>
          </p:cNvSpPr>
          <p:nvPr>
            <p:ph type="title"/>
          </p:nvPr>
        </p:nvSpPr>
        <p:spPr/>
        <p:txBody>
          <a:bodyPr/>
          <a:lstStyle/>
          <a:p>
            <a:r>
              <a:rPr lang="en-US" dirty="0">
                <a:solidFill>
                  <a:schemeClr val="accent1"/>
                </a:solidFill>
              </a:rPr>
              <a:t>Comprehensive Training</a:t>
            </a:r>
          </a:p>
        </p:txBody>
      </p:sp>
      <p:graphicFrame>
        <p:nvGraphicFramePr>
          <p:cNvPr id="5" name="Content Placeholder 4">
            <a:extLst>
              <a:ext uri="{FF2B5EF4-FFF2-40B4-BE49-F238E27FC236}">
                <a16:creationId xmlns:a16="http://schemas.microsoft.com/office/drawing/2014/main" id="{098EE2E3-1897-FCC2-62E0-25C10D4D1C22}"/>
              </a:ext>
            </a:extLst>
          </p:cNvPr>
          <p:cNvGraphicFramePr>
            <a:graphicFrameLocks noGrp="1"/>
          </p:cNvGraphicFramePr>
          <p:nvPr>
            <p:ph idx="1"/>
            <p:extLst>
              <p:ext uri="{D42A27DB-BD31-4B8C-83A1-F6EECF244321}">
                <p14:modId xmlns:p14="http://schemas.microsoft.com/office/powerpoint/2010/main" val="3586314383"/>
              </p:ext>
            </p:extLst>
          </p:nvPr>
        </p:nvGraphicFramePr>
        <p:xfrm>
          <a:off x="2345709" y="1457925"/>
          <a:ext cx="7500582" cy="4424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Left Brace 5">
            <a:extLst>
              <a:ext uri="{FF2B5EF4-FFF2-40B4-BE49-F238E27FC236}">
                <a16:creationId xmlns:a16="http://schemas.microsoft.com/office/drawing/2014/main" id="{65E1EE4F-B146-C762-8CD3-81E5BD9692BF}"/>
              </a:ext>
            </a:extLst>
          </p:cNvPr>
          <p:cNvSpPr/>
          <p:nvPr/>
        </p:nvSpPr>
        <p:spPr>
          <a:xfrm>
            <a:off x="1992576" y="1343163"/>
            <a:ext cx="469710" cy="4653886"/>
          </a:xfrm>
          <a:prstGeom prst="leftBrace">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Left Brace 6">
            <a:extLst>
              <a:ext uri="{FF2B5EF4-FFF2-40B4-BE49-F238E27FC236}">
                <a16:creationId xmlns:a16="http://schemas.microsoft.com/office/drawing/2014/main" id="{DB6C0425-D116-1066-2611-F1B7779518DF}"/>
              </a:ext>
            </a:extLst>
          </p:cNvPr>
          <p:cNvSpPr/>
          <p:nvPr/>
        </p:nvSpPr>
        <p:spPr>
          <a:xfrm rot="10800000">
            <a:off x="9729714" y="1343163"/>
            <a:ext cx="469710" cy="4653886"/>
          </a:xfrm>
          <a:prstGeom prst="leftBrace">
            <a:avLst/>
          </a:prstGeom>
          <a:ln w="381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330628D5-F3E6-EB9E-A118-2E01726C9A63}"/>
              </a:ext>
            </a:extLst>
          </p:cNvPr>
          <p:cNvSpPr txBox="1"/>
          <p:nvPr/>
        </p:nvSpPr>
        <p:spPr>
          <a:xfrm>
            <a:off x="457201" y="2653348"/>
            <a:ext cx="1535375" cy="2033517"/>
          </a:xfrm>
          <a:prstGeom prst="rect">
            <a:avLst/>
          </a:prstGeom>
          <a:noFill/>
        </p:spPr>
        <p:txBody>
          <a:bodyPr wrap="square" lIns="0" tIns="0" rIns="0" bIns="0" rtlCol="0">
            <a:noAutofit/>
          </a:bodyPr>
          <a:lstStyle/>
          <a:p>
            <a:pPr marL="285750" indent="-285750" algn="l">
              <a:buFont typeface="Arial" panose="020B0604020202020204" pitchFamily="34" charset="0"/>
              <a:buChar char="•"/>
            </a:pPr>
            <a:r>
              <a:rPr lang="en-US" dirty="0"/>
              <a:t>Paid</a:t>
            </a:r>
          </a:p>
          <a:p>
            <a:pPr marL="285750" indent="-285750" algn="l">
              <a:buFont typeface="Arial" panose="020B0604020202020204" pitchFamily="34" charset="0"/>
              <a:buChar char="•"/>
            </a:pPr>
            <a:r>
              <a:rPr lang="en-US" dirty="0"/>
              <a:t>Small Groups</a:t>
            </a:r>
          </a:p>
          <a:p>
            <a:pPr marL="285750" indent="-285750">
              <a:buFont typeface="Arial" panose="020B0604020202020204" pitchFamily="34" charset="0"/>
              <a:buChar char="•"/>
            </a:pPr>
            <a:r>
              <a:rPr lang="en-US" dirty="0"/>
              <a:t>More Time for Q&amp;A</a:t>
            </a:r>
          </a:p>
          <a:p>
            <a:pPr marL="285750" indent="-285750" algn="l">
              <a:buFont typeface="Arial" panose="020B0604020202020204" pitchFamily="34" charset="0"/>
              <a:buChar char="•"/>
            </a:pPr>
            <a:r>
              <a:rPr lang="en-US" dirty="0"/>
              <a:t>Hands-On Activities</a:t>
            </a:r>
          </a:p>
        </p:txBody>
      </p:sp>
      <p:sp>
        <p:nvSpPr>
          <p:cNvPr id="9" name="TextBox 8">
            <a:extLst>
              <a:ext uri="{FF2B5EF4-FFF2-40B4-BE49-F238E27FC236}">
                <a16:creationId xmlns:a16="http://schemas.microsoft.com/office/drawing/2014/main" id="{DCBC04E7-AE47-7A21-3B0E-ADBB17868EBB}"/>
              </a:ext>
            </a:extLst>
          </p:cNvPr>
          <p:cNvSpPr txBox="1"/>
          <p:nvPr/>
        </p:nvSpPr>
        <p:spPr>
          <a:xfrm>
            <a:off x="10354102" y="2681780"/>
            <a:ext cx="1535375" cy="1976652"/>
          </a:xfrm>
          <a:prstGeom prst="rect">
            <a:avLst/>
          </a:prstGeom>
          <a:noFill/>
        </p:spPr>
        <p:txBody>
          <a:bodyPr wrap="square" lIns="0" tIns="0" rIns="0" bIns="0" rtlCol="0">
            <a:noAutofit/>
          </a:bodyPr>
          <a:lstStyle/>
          <a:p>
            <a:pPr marL="285750" indent="-285750" algn="l">
              <a:buFont typeface="Arial" panose="020B0604020202020204" pitchFamily="34" charset="0"/>
              <a:buChar char="•"/>
            </a:pPr>
            <a:r>
              <a:rPr lang="en-US" dirty="0"/>
              <a:t>Free</a:t>
            </a:r>
          </a:p>
          <a:p>
            <a:pPr marL="285750" indent="-285750" algn="l">
              <a:buFont typeface="Arial" panose="020B0604020202020204" pitchFamily="34" charset="0"/>
              <a:buChar char="•"/>
            </a:pPr>
            <a:r>
              <a:rPr lang="en-US" dirty="0"/>
              <a:t>Larger Groups</a:t>
            </a:r>
          </a:p>
          <a:p>
            <a:pPr marL="285750" indent="-285750" algn="l">
              <a:buFont typeface="Arial" panose="020B0604020202020204" pitchFamily="34" charset="0"/>
              <a:buChar char="•"/>
            </a:pPr>
            <a:r>
              <a:rPr lang="en-US" dirty="0"/>
              <a:t>Recordings</a:t>
            </a:r>
          </a:p>
          <a:p>
            <a:pPr marL="285750" indent="-285750" algn="l">
              <a:buFont typeface="Arial" panose="020B0604020202020204" pitchFamily="34" charset="0"/>
              <a:buChar char="•"/>
            </a:pPr>
            <a:r>
              <a:rPr lang="en-US" dirty="0"/>
              <a:t>Quick Q&amp;A</a:t>
            </a:r>
          </a:p>
          <a:p>
            <a:pPr marL="285750" indent="-285750" algn="l">
              <a:buFont typeface="Arial" panose="020B0604020202020204" pitchFamily="34" charset="0"/>
              <a:buChar char="•"/>
            </a:pPr>
            <a:r>
              <a:rPr lang="en-US" dirty="0"/>
              <a:t>Self-Guided Practice</a:t>
            </a:r>
          </a:p>
        </p:txBody>
      </p:sp>
    </p:spTree>
    <p:extLst>
      <p:ext uri="{BB962C8B-B14F-4D97-AF65-F5344CB8AC3E}">
        <p14:creationId xmlns:p14="http://schemas.microsoft.com/office/powerpoint/2010/main" val="3620104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FE25E3-321B-A059-1846-FB5C0477D0E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256B13-0952-5210-AB33-0A236B04271C}"/>
              </a:ext>
            </a:extLst>
          </p:cNvPr>
          <p:cNvSpPr>
            <a:spLocks noGrp="1"/>
          </p:cNvSpPr>
          <p:nvPr>
            <p:ph type="title"/>
          </p:nvPr>
        </p:nvSpPr>
        <p:spPr/>
        <p:txBody>
          <a:bodyPr/>
          <a:lstStyle/>
          <a:p>
            <a:r>
              <a:rPr lang="en-US" dirty="0">
                <a:solidFill>
                  <a:schemeClr val="accent1"/>
                </a:solidFill>
              </a:rPr>
              <a:t>Refresher Training</a:t>
            </a:r>
          </a:p>
        </p:txBody>
      </p:sp>
      <p:sp>
        <p:nvSpPr>
          <p:cNvPr id="7" name="Content Placeholder 6">
            <a:extLst>
              <a:ext uri="{FF2B5EF4-FFF2-40B4-BE49-F238E27FC236}">
                <a16:creationId xmlns:a16="http://schemas.microsoft.com/office/drawing/2014/main" id="{0AFCAC59-4754-0E8C-755B-1FD9F8370D9A}"/>
              </a:ext>
            </a:extLst>
          </p:cNvPr>
          <p:cNvSpPr>
            <a:spLocks noGrp="1"/>
          </p:cNvSpPr>
          <p:nvPr>
            <p:ph idx="1"/>
          </p:nvPr>
        </p:nvSpPr>
        <p:spPr>
          <a:xfrm>
            <a:off x="457201" y="1230923"/>
            <a:ext cx="11277599" cy="319707"/>
          </a:xfrm>
        </p:spPr>
        <p:txBody>
          <a:bodyPr/>
          <a:lstStyle/>
          <a:p>
            <a:r>
              <a:rPr lang="en-US" dirty="0"/>
              <a:t>Pick &amp; choose webinars by topic:</a:t>
            </a:r>
          </a:p>
        </p:txBody>
      </p:sp>
      <p:sp>
        <p:nvSpPr>
          <p:cNvPr id="8" name="Text Placeholder 7">
            <a:extLst>
              <a:ext uri="{FF2B5EF4-FFF2-40B4-BE49-F238E27FC236}">
                <a16:creationId xmlns:a16="http://schemas.microsoft.com/office/drawing/2014/main" id="{94CC89EB-4774-9215-0A23-38305A77F5AE}"/>
              </a:ext>
            </a:extLst>
          </p:cNvPr>
          <p:cNvSpPr>
            <a:spLocks noGrp="1"/>
          </p:cNvSpPr>
          <p:nvPr>
            <p:ph type="body" sz="half" idx="2"/>
          </p:nvPr>
        </p:nvSpPr>
        <p:spPr/>
        <p:txBody>
          <a:bodyPr/>
          <a:lstStyle/>
          <a:p>
            <a:endParaRPr lang="en-US"/>
          </a:p>
        </p:txBody>
      </p:sp>
      <p:graphicFrame>
        <p:nvGraphicFramePr>
          <p:cNvPr id="10" name="Table 9">
            <a:extLst>
              <a:ext uri="{FF2B5EF4-FFF2-40B4-BE49-F238E27FC236}">
                <a16:creationId xmlns:a16="http://schemas.microsoft.com/office/drawing/2014/main" id="{5FD87A70-C4BD-13E5-FBDC-053AF840D030}"/>
              </a:ext>
            </a:extLst>
          </p:cNvPr>
          <p:cNvGraphicFramePr>
            <a:graphicFrameLocks noGrp="1"/>
          </p:cNvGraphicFramePr>
          <p:nvPr>
            <p:extLst>
              <p:ext uri="{D42A27DB-BD31-4B8C-83A1-F6EECF244321}">
                <p14:modId xmlns:p14="http://schemas.microsoft.com/office/powerpoint/2010/main" val="897802603"/>
              </p:ext>
            </p:extLst>
          </p:nvPr>
        </p:nvGraphicFramePr>
        <p:xfrm>
          <a:off x="457201" y="1791722"/>
          <a:ext cx="11356428" cy="4165600"/>
        </p:xfrm>
        <a:graphic>
          <a:graphicData uri="http://schemas.openxmlformats.org/drawingml/2006/table">
            <a:tbl>
              <a:tblPr firstRow="1" bandRow="1">
                <a:tableStyleId>{5C22544A-7EE6-4342-B048-85BDC9FD1C3A}</a:tableStyleId>
              </a:tblPr>
              <a:tblGrid>
                <a:gridCol w="3785476">
                  <a:extLst>
                    <a:ext uri="{9D8B030D-6E8A-4147-A177-3AD203B41FA5}">
                      <a16:colId xmlns:a16="http://schemas.microsoft.com/office/drawing/2014/main" val="1269409163"/>
                    </a:ext>
                  </a:extLst>
                </a:gridCol>
                <a:gridCol w="3785476">
                  <a:extLst>
                    <a:ext uri="{9D8B030D-6E8A-4147-A177-3AD203B41FA5}">
                      <a16:colId xmlns:a16="http://schemas.microsoft.com/office/drawing/2014/main" val="2805043265"/>
                    </a:ext>
                  </a:extLst>
                </a:gridCol>
                <a:gridCol w="3785476">
                  <a:extLst>
                    <a:ext uri="{9D8B030D-6E8A-4147-A177-3AD203B41FA5}">
                      <a16:colId xmlns:a16="http://schemas.microsoft.com/office/drawing/2014/main" val="4139446305"/>
                    </a:ext>
                  </a:extLst>
                </a:gridCol>
              </a:tblGrid>
              <a:tr h="370840">
                <a:tc>
                  <a:txBody>
                    <a:bodyPr/>
                    <a:lstStyle/>
                    <a:p>
                      <a:r>
                        <a:rPr lang="en-US" dirty="0"/>
                        <a:t>Admin Role</a:t>
                      </a:r>
                    </a:p>
                  </a:txBody>
                  <a:tcPr/>
                </a:tc>
                <a:tc>
                  <a:txBody>
                    <a:bodyPr/>
                    <a:lstStyle/>
                    <a:p>
                      <a:r>
                        <a:rPr lang="en-US" dirty="0"/>
                        <a:t>Form Design</a:t>
                      </a:r>
                    </a:p>
                  </a:txBody>
                  <a:tcPr>
                    <a:solidFill>
                      <a:schemeClr val="accent2"/>
                    </a:solidFill>
                  </a:tcPr>
                </a:tc>
                <a:tc>
                  <a:txBody>
                    <a:bodyPr/>
                    <a:lstStyle/>
                    <a:p>
                      <a:r>
                        <a:rPr lang="en-US" dirty="0"/>
                        <a:t>Native Reporting</a:t>
                      </a:r>
                    </a:p>
                  </a:txBody>
                  <a:tcPr>
                    <a:solidFill>
                      <a:schemeClr val="accent5"/>
                    </a:solidFill>
                  </a:tcPr>
                </a:tc>
                <a:extLst>
                  <a:ext uri="{0D108BD9-81ED-4DB2-BD59-A6C34878D82A}">
                    <a16:rowId xmlns:a16="http://schemas.microsoft.com/office/drawing/2014/main" val="2891837613"/>
                  </a:ext>
                </a:extLst>
              </a:tr>
              <a:tr h="370840">
                <a:tc>
                  <a:txBody>
                    <a:bodyPr/>
                    <a:lstStyle/>
                    <a:p>
                      <a:pPr marL="285750" indent="-285750">
                        <a:spcBef>
                          <a:spcPts val="600"/>
                        </a:spcBef>
                        <a:buFont typeface="Arial" panose="020B0604020202020204" pitchFamily="34" charset="0"/>
                        <a:buChar char="•"/>
                      </a:pPr>
                      <a:r>
                        <a:rPr lang="en-US" sz="1600" dirty="0"/>
                        <a:t>Becoming a Strong Admin</a:t>
                      </a:r>
                    </a:p>
                    <a:p>
                      <a:pPr marL="285750" indent="-285750">
                        <a:spcBef>
                          <a:spcPts val="600"/>
                        </a:spcBef>
                        <a:buFont typeface="Arial" panose="020B0604020202020204" pitchFamily="34" charset="0"/>
                        <a:buChar char="•"/>
                      </a:pPr>
                      <a:r>
                        <a:rPr lang="en-US" sz="1600" dirty="0"/>
                        <a:t>Getting Staff Buy-In</a:t>
                      </a:r>
                    </a:p>
                    <a:p>
                      <a:pPr marL="285750" indent="-285750">
                        <a:spcBef>
                          <a:spcPts val="600"/>
                        </a:spcBef>
                        <a:buFont typeface="Arial" panose="020B0604020202020204" pitchFamily="34" charset="0"/>
                        <a:buChar char="•"/>
                      </a:pPr>
                      <a:r>
                        <a:rPr lang="en-US" sz="1600" dirty="0"/>
                        <a:t>Preparing Your Apricot for Rollout</a:t>
                      </a:r>
                    </a:p>
                    <a:p>
                      <a:pPr marL="285750" indent="-285750">
                        <a:spcBef>
                          <a:spcPts val="600"/>
                        </a:spcBef>
                        <a:buFont typeface="Arial" panose="020B0604020202020204" pitchFamily="34" charset="0"/>
                        <a:buChar char="•"/>
                      </a:pPr>
                      <a:r>
                        <a:rPr lang="en-US" sz="1600" dirty="0"/>
                        <a:t>Understanding Your Apricot Design</a:t>
                      </a:r>
                    </a:p>
                    <a:p>
                      <a:pPr marL="285750" indent="-285750">
                        <a:spcBef>
                          <a:spcPts val="600"/>
                        </a:spcBef>
                        <a:buFont typeface="Arial" panose="020B0604020202020204" pitchFamily="34" charset="0"/>
                        <a:buChar char="•"/>
                      </a:pPr>
                      <a:r>
                        <a:rPr lang="en-US" sz="1600" dirty="0"/>
                        <a:t>Optimizing Your Apricot</a:t>
                      </a:r>
                    </a:p>
                    <a:p>
                      <a:pPr marL="285750" indent="-285750">
                        <a:spcBef>
                          <a:spcPts val="600"/>
                        </a:spcBef>
                        <a:buFont typeface="Arial" panose="020B0604020202020204" pitchFamily="34" charset="0"/>
                        <a:buChar char="•"/>
                      </a:pPr>
                      <a:r>
                        <a:rPr lang="en-US" sz="1600" dirty="0"/>
                        <a:t>Working with Form &amp; Report Templates</a:t>
                      </a:r>
                    </a:p>
                  </a:txBody>
                  <a:tcPr/>
                </a:tc>
                <a:tc>
                  <a:txBody>
                    <a:bodyPr/>
                    <a:lstStyle/>
                    <a:p>
                      <a:pPr marL="285750" indent="-285750">
                        <a:spcBef>
                          <a:spcPts val="600"/>
                        </a:spcBef>
                        <a:buFont typeface="Arial" panose="020B0604020202020204" pitchFamily="34" charset="0"/>
                        <a:buChar char="•"/>
                      </a:pPr>
                      <a:r>
                        <a:rPr lang="en-US" sz="1600" dirty="0"/>
                        <a:t>Designing a Profile Form</a:t>
                      </a:r>
                    </a:p>
                    <a:p>
                      <a:pPr marL="285750" indent="-285750">
                        <a:spcBef>
                          <a:spcPts val="600"/>
                        </a:spcBef>
                        <a:buFont typeface="Arial" panose="020B0604020202020204" pitchFamily="34" charset="0"/>
                        <a:buChar char="•"/>
                      </a:pPr>
                      <a:r>
                        <a:rPr lang="en-US" sz="1600" dirty="0"/>
                        <a:t>Designing Forms for Tracking Services, Case Notes, Interactions &amp; More</a:t>
                      </a:r>
                    </a:p>
                    <a:p>
                      <a:pPr marL="285750" indent="-285750">
                        <a:spcBef>
                          <a:spcPts val="600"/>
                        </a:spcBef>
                        <a:buFont typeface="Arial" panose="020B0604020202020204" pitchFamily="34" charset="0"/>
                        <a:buChar char="•"/>
                      </a:pPr>
                      <a:r>
                        <a:rPr lang="en-US" sz="1600" dirty="0"/>
                        <a:t>Measuring Client Progress via Forms</a:t>
                      </a:r>
                    </a:p>
                    <a:p>
                      <a:pPr marL="285750" indent="-285750">
                        <a:spcBef>
                          <a:spcPts val="600"/>
                        </a:spcBef>
                        <a:buFont typeface="Arial" panose="020B0604020202020204" pitchFamily="34" charset="0"/>
                        <a:buChar char="•"/>
                      </a:pPr>
                      <a:r>
                        <a:rPr lang="en-US" sz="1600" dirty="0"/>
                        <a:t>Modifying Forms</a:t>
                      </a:r>
                    </a:p>
                    <a:p>
                      <a:pPr marL="285750" indent="-285750">
                        <a:spcBef>
                          <a:spcPts val="600"/>
                        </a:spcBef>
                        <a:buFont typeface="Arial" panose="020B0604020202020204" pitchFamily="34" charset="0"/>
                        <a:buChar char="•"/>
                      </a:pPr>
                      <a:r>
                        <a:rPr lang="en-US" sz="1600" dirty="0"/>
                        <a:t>How to Track Multiple Services in One Form</a:t>
                      </a:r>
                    </a:p>
                    <a:p>
                      <a:pPr marL="285750" indent="-285750">
                        <a:spcBef>
                          <a:spcPts val="600"/>
                        </a:spcBef>
                        <a:buFont typeface="Arial" panose="020B0604020202020204" pitchFamily="34" charset="0"/>
                        <a:buChar char="•"/>
                      </a:pPr>
                      <a:r>
                        <a:rPr lang="en-US" sz="1600" dirty="0"/>
                        <a:t>Making Forms Relevant with Conditional Questions</a:t>
                      </a:r>
                    </a:p>
                    <a:p>
                      <a:pPr marL="285750" indent="-285750">
                        <a:spcBef>
                          <a:spcPts val="600"/>
                        </a:spcBef>
                        <a:buFont typeface="Arial" panose="020B0604020202020204" pitchFamily="34" charset="0"/>
                        <a:buChar char="•"/>
                      </a:pPr>
                      <a:r>
                        <a:rPr lang="en-US" sz="1600" dirty="0"/>
                        <a:t>How to Create Dynamic Dropdowns</a:t>
                      </a:r>
                    </a:p>
                    <a:p>
                      <a:pPr marL="285750" indent="-285750">
                        <a:spcBef>
                          <a:spcPts val="600"/>
                        </a:spcBef>
                        <a:buFont typeface="Arial" panose="020B0604020202020204" pitchFamily="34" charset="0"/>
                        <a:buChar char="•"/>
                      </a:pPr>
                      <a:r>
                        <a:rPr lang="en-US" sz="1600" dirty="0"/>
                        <a:t>Creating Surveys &amp; Assessments</a:t>
                      </a:r>
                    </a:p>
                  </a:txBody>
                  <a:tcPr>
                    <a:solidFill>
                      <a:schemeClr val="accent2">
                        <a:lumMod val="20000"/>
                        <a:lumOff val="80000"/>
                      </a:schemeClr>
                    </a:solidFill>
                  </a:tcPr>
                </a:tc>
                <a:tc>
                  <a:txBody>
                    <a:bodyPr/>
                    <a:lstStyle/>
                    <a:p>
                      <a:pPr marL="285750" indent="-285750">
                        <a:spcBef>
                          <a:spcPts val="600"/>
                        </a:spcBef>
                        <a:buFont typeface="Arial" panose="020B0604020202020204" pitchFamily="34" charset="0"/>
                        <a:buChar char="•"/>
                      </a:pPr>
                      <a:r>
                        <a:rPr lang="en-US" sz="1600" dirty="0"/>
                        <a:t>Extracting Your Data</a:t>
                      </a:r>
                    </a:p>
                    <a:p>
                      <a:pPr marL="285750" indent="-285750">
                        <a:spcBef>
                          <a:spcPts val="600"/>
                        </a:spcBef>
                        <a:buFont typeface="Arial" panose="020B0604020202020204" pitchFamily="34" charset="0"/>
                        <a:buChar char="•"/>
                      </a:pPr>
                      <a:r>
                        <a:rPr lang="en-US" sz="1600" dirty="0"/>
                        <a:t>Analyzing Your Data with Report Filters</a:t>
                      </a:r>
                    </a:p>
                    <a:p>
                      <a:pPr marL="285750" indent="-285750">
                        <a:spcBef>
                          <a:spcPts val="600"/>
                        </a:spcBef>
                        <a:buFont typeface="Arial" panose="020B0604020202020204" pitchFamily="34" charset="0"/>
                        <a:buChar char="•"/>
                      </a:pPr>
                      <a:r>
                        <a:rPr lang="en-US" sz="1600" dirty="0"/>
                        <a:t>Troubleshooting Your Report</a:t>
                      </a:r>
                    </a:p>
                    <a:p>
                      <a:pPr marL="285750" indent="-285750">
                        <a:spcBef>
                          <a:spcPts val="600"/>
                        </a:spcBef>
                        <a:buFont typeface="Arial" panose="020B0604020202020204" pitchFamily="34" charset="0"/>
                        <a:buChar char="•"/>
                      </a:pPr>
                      <a:r>
                        <a:rPr lang="en-US" sz="1600" dirty="0"/>
                        <a:t>Adding Summaries to Reports</a:t>
                      </a:r>
                    </a:p>
                    <a:p>
                      <a:pPr marL="285750" indent="-285750">
                        <a:spcBef>
                          <a:spcPts val="600"/>
                        </a:spcBef>
                        <a:buFont typeface="Arial" panose="020B0604020202020204" pitchFamily="34" charset="0"/>
                        <a:buChar char="•"/>
                      </a:pPr>
                      <a:r>
                        <a:rPr lang="en-US" sz="1600" dirty="0"/>
                        <a:t>Building Reports with Multiple Forms</a:t>
                      </a:r>
                    </a:p>
                    <a:p>
                      <a:pPr marL="285750" indent="-285750">
                        <a:spcBef>
                          <a:spcPts val="600"/>
                        </a:spcBef>
                        <a:buFont typeface="Arial" panose="020B0604020202020204" pitchFamily="34" charset="0"/>
                        <a:buChar char="•"/>
                      </a:pPr>
                      <a:r>
                        <a:rPr lang="en-US" sz="1600" dirty="0"/>
                        <a:t>Using Graphs in Reporting</a:t>
                      </a:r>
                    </a:p>
                    <a:p>
                      <a:pPr marL="285750" indent="-285750">
                        <a:spcBef>
                          <a:spcPts val="600"/>
                        </a:spcBef>
                        <a:buFont typeface="Arial" panose="020B0604020202020204" pitchFamily="34" charset="0"/>
                        <a:buChar char="•"/>
                      </a:pPr>
                      <a:r>
                        <a:rPr lang="en-US" sz="1600" dirty="0"/>
                        <a:t>When to Use Results Reporting</a:t>
                      </a:r>
                    </a:p>
                    <a:p>
                      <a:pPr marL="285750" indent="-285750">
                        <a:spcBef>
                          <a:spcPts val="600"/>
                        </a:spcBef>
                        <a:buFont typeface="Arial" panose="020B0604020202020204" pitchFamily="34" charset="0"/>
                        <a:buChar char="•"/>
                      </a:pPr>
                      <a:r>
                        <a:rPr lang="en-US" sz="1600" dirty="0"/>
                        <a:t>Gaining Insight from Survey &amp; Assessment Data</a:t>
                      </a:r>
                    </a:p>
                  </a:txBody>
                  <a:tcPr>
                    <a:solidFill>
                      <a:schemeClr val="accent5">
                        <a:lumMod val="20000"/>
                        <a:lumOff val="80000"/>
                      </a:schemeClr>
                    </a:solidFill>
                  </a:tcPr>
                </a:tc>
                <a:extLst>
                  <a:ext uri="{0D108BD9-81ED-4DB2-BD59-A6C34878D82A}">
                    <a16:rowId xmlns:a16="http://schemas.microsoft.com/office/drawing/2014/main" val="3244760910"/>
                  </a:ext>
                </a:extLst>
              </a:tr>
            </a:tbl>
          </a:graphicData>
        </a:graphic>
      </p:graphicFrame>
    </p:spTree>
    <p:extLst>
      <p:ext uri="{BB962C8B-B14F-4D97-AF65-F5344CB8AC3E}">
        <p14:creationId xmlns:p14="http://schemas.microsoft.com/office/powerpoint/2010/main" val="10636543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570D5-FF5D-46E2-51F4-8D9E79EA6E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8337C3-156D-10EB-7C29-F1AE3FB6A891}"/>
              </a:ext>
            </a:extLst>
          </p:cNvPr>
          <p:cNvSpPr>
            <a:spLocks noGrp="1"/>
          </p:cNvSpPr>
          <p:nvPr>
            <p:ph type="title"/>
          </p:nvPr>
        </p:nvSpPr>
        <p:spPr/>
        <p:txBody>
          <a:bodyPr/>
          <a:lstStyle/>
          <a:p>
            <a:r>
              <a:rPr lang="en-US" dirty="0">
                <a:solidFill>
                  <a:schemeClr val="accent1"/>
                </a:solidFill>
              </a:rPr>
              <a:t>Refresher Training</a:t>
            </a:r>
          </a:p>
        </p:txBody>
      </p:sp>
      <p:sp>
        <p:nvSpPr>
          <p:cNvPr id="7" name="Content Placeholder 6">
            <a:extLst>
              <a:ext uri="{FF2B5EF4-FFF2-40B4-BE49-F238E27FC236}">
                <a16:creationId xmlns:a16="http://schemas.microsoft.com/office/drawing/2014/main" id="{98772870-A0FA-8D13-4BDD-52636444E2A5}"/>
              </a:ext>
            </a:extLst>
          </p:cNvPr>
          <p:cNvSpPr>
            <a:spLocks noGrp="1"/>
          </p:cNvSpPr>
          <p:nvPr>
            <p:ph idx="1"/>
          </p:nvPr>
        </p:nvSpPr>
        <p:spPr>
          <a:xfrm>
            <a:off x="457201" y="1230923"/>
            <a:ext cx="11277599" cy="319707"/>
          </a:xfrm>
        </p:spPr>
        <p:txBody>
          <a:bodyPr/>
          <a:lstStyle/>
          <a:p>
            <a:r>
              <a:rPr lang="en-US" dirty="0"/>
              <a:t>Pick &amp; choose webinars by topic:</a:t>
            </a:r>
          </a:p>
        </p:txBody>
      </p:sp>
      <p:sp>
        <p:nvSpPr>
          <p:cNvPr id="8" name="Text Placeholder 7">
            <a:extLst>
              <a:ext uri="{FF2B5EF4-FFF2-40B4-BE49-F238E27FC236}">
                <a16:creationId xmlns:a16="http://schemas.microsoft.com/office/drawing/2014/main" id="{6EA58B72-8DFE-976B-D94E-B559694227D8}"/>
              </a:ext>
            </a:extLst>
          </p:cNvPr>
          <p:cNvSpPr>
            <a:spLocks noGrp="1"/>
          </p:cNvSpPr>
          <p:nvPr>
            <p:ph type="body" sz="half" idx="2"/>
          </p:nvPr>
        </p:nvSpPr>
        <p:spPr/>
        <p:txBody>
          <a:bodyPr/>
          <a:lstStyle/>
          <a:p>
            <a:endParaRPr lang="en-US"/>
          </a:p>
        </p:txBody>
      </p:sp>
      <p:graphicFrame>
        <p:nvGraphicFramePr>
          <p:cNvPr id="3" name="Table 2">
            <a:extLst>
              <a:ext uri="{FF2B5EF4-FFF2-40B4-BE49-F238E27FC236}">
                <a16:creationId xmlns:a16="http://schemas.microsoft.com/office/drawing/2014/main" id="{B171186E-AA86-BD51-4532-CB2C0DE410B3}"/>
              </a:ext>
            </a:extLst>
          </p:cNvPr>
          <p:cNvGraphicFramePr>
            <a:graphicFrameLocks noGrp="1"/>
          </p:cNvGraphicFramePr>
          <p:nvPr>
            <p:extLst>
              <p:ext uri="{D42A27DB-BD31-4B8C-83A1-F6EECF244321}">
                <p14:modId xmlns:p14="http://schemas.microsoft.com/office/powerpoint/2010/main" val="810950044"/>
              </p:ext>
            </p:extLst>
          </p:nvPr>
        </p:nvGraphicFramePr>
        <p:xfrm>
          <a:off x="457201" y="1791722"/>
          <a:ext cx="11356428" cy="2794000"/>
        </p:xfrm>
        <a:graphic>
          <a:graphicData uri="http://schemas.openxmlformats.org/drawingml/2006/table">
            <a:tbl>
              <a:tblPr firstRow="1" bandRow="1">
                <a:tableStyleId>{5C22544A-7EE6-4342-B048-85BDC9FD1C3A}</a:tableStyleId>
              </a:tblPr>
              <a:tblGrid>
                <a:gridCol w="3785476">
                  <a:extLst>
                    <a:ext uri="{9D8B030D-6E8A-4147-A177-3AD203B41FA5}">
                      <a16:colId xmlns:a16="http://schemas.microsoft.com/office/drawing/2014/main" val="1269409163"/>
                    </a:ext>
                  </a:extLst>
                </a:gridCol>
                <a:gridCol w="3785476">
                  <a:extLst>
                    <a:ext uri="{9D8B030D-6E8A-4147-A177-3AD203B41FA5}">
                      <a16:colId xmlns:a16="http://schemas.microsoft.com/office/drawing/2014/main" val="2805043265"/>
                    </a:ext>
                  </a:extLst>
                </a:gridCol>
                <a:gridCol w="3785476">
                  <a:extLst>
                    <a:ext uri="{9D8B030D-6E8A-4147-A177-3AD203B41FA5}">
                      <a16:colId xmlns:a16="http://schemas.microsoft.com/office/drawing/2014/main" val="4139446305"/>
                    </a:ext>
                  </a:extLst>
                </a:gridCol>
              </a:tblGrid>
              <a:tr h="370840">
                <a:tc>
                  <a:txBody>
                    <a:bodyPr/>
                    <a:lstStyle/>
                    <a:p>
                      <a:r>
                        <a:rPr lang="en-US" dirty="0"/>
                        <a:t>User Management</a:t>
                      </a:r>
                    </a:p>
                  </a:txBody>
                  <a:tcPr/>
                </a:tc>
                <a:tc>
                  <a:txBody>
                    <a:bodyPr/>
                    <a:lstStyle/>
                    <a:p>
                      <a:r>
                        <a:rPr lang="en-US" dirty="0"/>
                        <a:t>Data Management</a:t>
                      </a:r>
                    </a:p>
                  </a:txBody>
                  <a:tcPr>
                    <a:solidFill>
                      <a:schemeClr val="accent2"/>
                    </a:solidFill>
                  </a:tcPr>
                </a:tc>
                <a:tc>
                  <a:txBody>
                    <a:bodyPr/>
                    <a:lstStyle/>
                    <a:p>
                      <a:r>
                        <a:rPr lang="en-US" dirty="0"/>
                        <a:t>Additional Features</a:t>
                      </a:r>
                    </a:p>
                  </a:txBody>
                  <a:tcPr>
                    <a:solidFill>
                      <a:schemeClr val="accent5"/>
                    </a:solidFill>
                  </a:tcPr>
                </a:tc>
                <a:extLst>
                  <a:ext uri="{0D108BD9-81ED-4DB2-BD59-A6C34878D82A}">
                    <a16:rowId xmlns:a16="http://schemas.microsoft.com/office/drawing/2014/main" val="2891837613"/>
                  </a:ext>
                </a:extLst>
              </a:tr>
              <a:tr h="370840">
                <a:tc>
                  <a:txBody>
                    <a:bodyPr/>
                    <a:lstStyle/>
                    <a:p>
                      <a:pPr marL="285750" indent="-285750">
                        <a:spcBef>
                          <a:spcPts val="600"/>
                        </a:spcBef>
                        <a:buFont typeface="Arial" panose="020B0604020202020204" pitchFamily="34" charset="0"/>
                        <a:buChar char="•"/>
                      </a:pPr>
                      <a:r>
                        <a:rPr lang="en-US" sz="1600" dirty="0"/>
                        <a:t>Managing Your Sites &amp; Programs</a:t>
                      </a:r>
                    </a:p>
                    <a:p>
                      <a:pPr marL="285750" indent="-285750">
                        <a:spcBef>
                          <a:spcPts val="600"/>
                        </a:spcBef>
                        <a:buFont typeface="Arial" panose="020B0604020202020204" pitchFamily="34" charset="0"/>
                        <a:buChar char="•"/>
                      </a:pPr>
                      <a:r>
                        <a:rPr lang="en-US" sz="1600" dirty="0"/>
                        <a:t>Supporting New Users</a:t>
                      </a:r>
                    </a:p>
                    <a:p>
                      <a:pPr marL="285750" indent="-285750">
                        <a:spcBef>
                          <a:spcPts val="600"/>
                        </a:spcBef>
                        <a:buFont typeface="Arial" panose="020B0604020202020204" pitchFamily="34" charset="0"/>
                        <a:buChar char="•"/>
                      </a:pPr>
                      <a:r>
                        <a:rPr lang="en-US" sz="1600" dirty="0"/>
                        <a:t>Streamlining Staff Access to their Caseload</a:t>
                      </a:r>
                    </a:p>
                    <a:p>
                      <a:pPr marL="285750" indent="-285750">
                        <a:spcBef>
                          <a:spcPts val="600"/>
                        </a:spcBef>
                        <a:buFont typeface="Arial" panose="020B0604020202020204" pitchFamily="34" charset="0"/>
                        <a:buChar char="•"/>
                      </a:pPr>
                      <a:r>
                        <a:rPr lang="en-US" sz="1600" dirty="0"/>
                        <a:t>How to Migrate to Role Based Permissions</a:t>
                      </a:r>
                    </a:p>
                    <a:p>
                      <a:pPr marL="285750" indent="-285750">
                        <a:spcBef>
                          <a:spcPts val="600"/>
                        </a:spcBef>
                        <a:buFont typeface="Arial" panose="020B0604020202020204" pitchFamily="34" charset="0"/>
                        <a:buChar char="•"/>
                      </a:pPr>
                      <a:r>
                        <a:rPr lang="en-US" sz="1600" dirty="0"/>
                        <a:t>Granting Standard Users Advanced Permissions</a:t>
                      </a:r>
                    </a:p>
                  </a:txBody>
                  <a:tcPr/>
                </a:tc>
                <a:tc>
                  <a:txBody>
                    <a:bodyPr/>
                    <a:lstStyle/>
                    <a:p>
                      <a:pPr marL="285750" indent="-285750">
                        <a:spcBef>
                          <a:spcPts val="600"/>
                        </a:spcBef>
                        <a:buFont typeface="Arial" panose="020B0604020202020204" pitchFamily="34" charset="0"/>
                        <a:buChar char="•"/>
                      </a:pPr>
                      <a:r>
                        <a:rPr lang="en-US" sz="1600" dirty="0"/>
                        <a:t>Uploading Data into Apricot</a:t>
                      </a:r>
                    </a:p>
                    <a:p>
                      <a:pPr marL="285750" indent="-285750">
                        <a:spcBef>
                          <a:spcPts val="600"/>
                        </a:spcBef>
                        <a:buFont typeface="Arial" panose="020B0604020202020204" pitchFamily="34" charset="0"/>
                        <a:buChar char="•"/>
                      </a:pPr>
                      <a:r>
                        <a:rPr lang="en-US" sz="1600" dirty="0"/>
                        <a:t>Troubleshooting Your Data Upload</a:t>
                      </a:r>
                    </a:p>
                    <a:p>
                      <a:pPr marL="285750" indent="-285750">
                        <a:spcBef>
                          <a:spcPts val="600"/>
                        </a:spcBef>
                        <a:buFont typeface="Arial" panose="020B0604020202020204" pitchFamily="34" charset="0"/>
                        <a:buChar char="•"/>
                      </a:pPr>
                      <a:r>
                        <a:rPr lang="en-US" sz="1600" dirty="0"/>
                        <a:t>Keeping Data Organized &amp; Secure</a:t>
                      </a:r>
                    </a:p>
                  </a:txBody>
                  <a:tcPr>
                    <a:solidFill>
                      <a:schemeClr val="accent2">
                        <a:lumMod val="20000"/>
                        <a:lumOff val="80000"/>
                      </a:schemeClr>
                    </a:solidFill>
                  </a:tcPr>
                </a:tc>
                <a:tc>
                  <a:txBody>
                    <a:bodyPr/>
                    <a:lstStyle/>
                    <a:p>
                      <a:pPr marL="285750" indent="-285750">
                        <a:spcBef>
                          <a:spcPts val="600"/>
                        </a:spcBef>
                        <a:buFont typeface="Arial" panose="020B0604020202020204" pitchFamily="34" charset="0"/>
                        <a:buChar char="•"/>
                      </a:pPr>
                      <a:r>
                        <a:rPr lang="en-US" sz="1600" dirty="0"/>
                        <a:t>Options for Tracking Attendance</a:t>
                      </a:r>
                    </a:p>
                    <a:p>
                      <a:pPr marL="285750" indent="-285750">
                        <a:spcBef>
                          <a:spcPts val="600"/>
                        </a:spcBef>
                        <a:buFont typeface="Arial" panose="020B0604020202020204" pitchFamily="34" charset="0"/>
                        <a:buChar char="•"/>
                      </a:pPr>
                      <a:r>
                        <a:rPr lang="en-US" sz="1600" dirty="0"/>
                        <a:t>Setting Up Participant Portal</a:t>
                      </a:r>
                    </a:p>
                    <a:p>
                      <a:pPr marL="285750" indent="-285750">
                        <a:spcBef>
                          <a:spcPts val="600"/>
                        </a:spcBef>
                        <a:buFont typeface="Arial" panose="020B0604020202020204" pitchFamily="34" charset="0"/>
                        <a:buChar char="•"/>
                      </a:pPr>
                      <a:r>
                        <a:rPr lang="en-US" sz="1600" dirty="0"/>
                        <a:t>Managing Inventory in Apricot</a:t>
                      </a:r>
                    </a:p>
                    <a:p>
                      <a:pPr marL="285750" indent="-285750">
                        <a:spcBef>
                          <a:spcPts val="600"/>
                        </a:spcBef>
                        <a:buFont typeface="Arial" panose="020B0604020202020204" pitchFamily="34" charset="0"/>
                        <a:buChar char="•"/>
                      </a:pPr>
                      <a:r>
                        <a:rPr lang="en-US" sz="1600" dirty="0"/>
                        <a:t>Tracking Internal &amp; External Referrals</a:t>
                      </a:r>
                    </a:p>
                    <a:p>
                      <a:pPr marL="285750" indent="-285750">
                        <a:spcBef>
                          <a:spcPts val="600"/>
                        </a:spcBef>
                        <a:buFont typeface="Arial" panose="020B0604020202020204" pitchFamily="34" charset="0"/>
                        <a:buChar char="•"/>
                      </a:pPr>
                      <a:r>
                        <a:rPr lang="en-US" sz="1600" dirty="0"/>
                        <a:t>Streamlining Staff Workflow</a:t>
                      </a:r>
                    </a:p>
                    <a:p>
                      <a:pPr marL="285750" indent="-285750">
                        <a:spcBef>
                          <a:spcPts val="600"/>
                        </a:spcBef>
                        <a:buFont typeface="Arial" panose="020B0604020202020204" pitchFamily="34" charset="0"/>
                        <a:buChar char="•"/>
                      </a:pPr>
                      <a:r>
                        <a:rPr lang="en-US" sz="1600" dirty="0"/>
                        <a:t>Helping Users Prioritize Key Tasks in Apricot</a:t>
                      </a:r>
                    </a:p>
                  </a:txBody>
                  <a:tcPr>
                    <a:solidFill>
                      <a:schemeClr val="accent5">
                        <a:lumMod val="20000"/>
                        <a:lumOff val="80000"/>
                      </a:schemeClr>
                    </a:solidFill>
                  </a:tcPr>
                </a:tc>
                <a:extLst>
                  <a:ext uri="{0D108BD9-81ED-4DB2-BD59-A6C34878D82A}">
                    <a16:rowId xmlns:a16="http://schemas.microsoft.com/office/drawing/2014/main" val="3244760910"/>
                  </a:ext>
                </a:extLst>
              </a:tr>
            </a:tbl>
          </a:graphicData>
        </a:graphic>
      </p:graphicFrame>
    </p:spTree>
    <p:extLst>
      <p:ext uri="{BB962C8B-B14F-4D97-AF65-F5344CB8AC3E}">
        <p14:creationId xmlns:p14="http://schemas.microsoft.com/office/powerpoint/2010/main" val="21916547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6F8E7-0537-6647-2353-72C586A331B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E0DBA5-20DF-AF6E-91F7-C906DD60E29C}"/>
              </a:ext>
            </a:extLst>
          </p:cNvPr>
          <p:cNvSpPr>
            <a:spLocks noGrp="1"/>
          </p:cNvSpPr>
          <p:nvPr>
            <p:ph type="ctrTitle"/>
          </p:nvPr>
        </p:nvSpPr>
        <p:spPr>
          <a:xfrm>
            <a:off x="1492380" y="2148840"/>
            <a:ext cx="9207239" cy="2560320"/>
          </a:xfrm>
        </p:spPr>
        <p:txBody>
          <a:bodyPr/>
          <a:lstStyle/>
          <a:p>
            <a:pPr algn="ctr"/>
            <a:r>
              <a:rPr lang="en-US" dirty="0"/>
              <a:t>Knowledge Check</a:t>
            </a:r>
          </a:p>
        </p:txBody>
      </p:sp>
    </p:spTree>
    <p:extLst>
      <p:ext uri="{BB962C8B-B14F-4D97-AF65-F5344CB8AC3E}">
        <p14:creationId xmlns:p14="http://schemas.microsoft.com/office/powerpoint/2010/main" val="3773820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65E0A11-5B3B-7C75-EE21-E905DC8D82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E01FC98-23F9-F66F-5FF5-4AC2491DC0AB}"/>
              </a:ext>
            </a:extLst>
          </p:cNvPr>
          <p:cNvSpPr>
            <a:spLocks noGrp="1"/>
          </p:cNvSpPr>
          <p:nvPr>
            <p:ph type="title"/>
          </p:nvPr>
        </p:nvSpPr>
        <p:spPr>
          <a:xfrm>
            <a:off x="457201" y="406049"/>
            <a:ext cx="11277601" cy="590646"/>
          </a:xfrm>
        </p:spPr>
        <p:txBody>
          <a:bodyPr/>
          <a:lstStyle/>
          <a:p>
            <a:r>
              <a:rPr lang="en-US" dirty="0">
                <a:solidFill>
                  <a:schemeClr val="accent1"/>
                </a:solidFill>
              </a:rPr>
              <a:t>Quiz Questions</a:t>
            </a:r>
          </a:p>
        </p:txBody>
      </p:sp>
      <p:sp>
        <p:nvSpPr>
          <p:cNvPr id="3" name="Content Placeholder 2">
            <a:extLst>
              <a:ext uri="{FF2B5EF4-FFF2-40B4-BE49-F238E27FC236}">
                <a16:creationId xmlns:a16="http://schemas.microsoft.com/office/drawing/2014/main" id="{31178A46-87EE-BDEB-1497-F0305EB10874}"/>
              </a:ext>
            </a:extLst>
          </p:cNvPr>
          <p:cNvSpPr>
            <a:spLocks noGrp="1"/>
          </p:cNvSpPr>
          <p:nvPr>
            <p:ph sz="half" idx="1"/>
          </p:nvPr>
        </p:nvSpPr>
        <p:spPr>
          <a:xfrm>
            <a:off x="457200" y="1251285"/>
            <a:ext cx="5401651" cy="4912980"/>
          </a:xfrm>
        </p:spPr>
        <p:txBody>
          <a:bodyPr/>
          <a:lstStyle/>
          <a:p>
            <a:pPr marL="342900" indent="-342900">
              <a:buAutoNum type="arabicPeriod"/>
            </a:pPr>
            <a:r>
              <a:rPr lang="en-US" sz="1200" b="1" dirty="0"/>
              <a:t>What is unique about data collected on a Tier 1 Participant Profile versus any Tier 2 forms tracking Services, Case Notes, etc.?</a:t>
            </a:r>
          </a:p>
          <a:p>
            <a:pPr marL="571494" lvl="1" indent="-342900">
              <a:buFont typeface="+mj-lt"/>
              <a:buAutoNum type="alphaLcPeriod"/>
            </a:pPr>
            <a:r>
              <a:rPr lang="en-US" sz="1200" dirty="0"/>
              <a:t>Profile should capture a snapshot at time of intake that isn't updated</a:t>
            </a:r>
          </a:p>
          <a:p>
            <a:pPr marL="571494" lvl="1" indent="-342900">
              <a:buFont typeface="+mj-lt"/>
              <a:buAutoNum type="alphaLcPeriod"/>
            </a:pPr>
            <a:r>
              <a:rPr lang="en-US" sz="1200" dirty="0"/>
              <a:t>We recommend focusing on data like demographics &amp; contact info that doesn't change as a result of your services</a:t>
            </a:r>
          </a:p>
          <a:p>
            <a:pPr marL="571494" lvl="1" indent="-342900">
              <a:buFont typeface="+mj-lt"/>
              <a:buAutoNum type="alphaLcPeriod"/>
            </a:pPr>
            <a:r>
              <a:rPr lang="en-US" sz="1200" dirty="0"/>
              <a:t>Expect to fill out a new Profile for each Program Enrollment</a:t>
            </a:r>
          </a:p>
          <a:p>
            <a:pPr marL="571494" lvl="1" indent="-342900">
              <a:buFont typeface="+mj-lt"/>
              <a:buAutoNum type="alphaLcPeriod"/>
            </a:pPr>
            <a:r>
              <a:rPr lang="en-US" sz="1200" dirty="0"/>
              <a:t>None of the Above</a:t>
            </a:r>
          </a:p>
          <a:p>
            <a:pPr marL="342900" indent="-342900">
              <a:buFont typeface="+mj-lt"/>
              <a:buAutoNum type="arabicPeriod"/>
            </a:pPr>
            <a:endParaRPr lang="en-US" sz="1200" dirty="0"/>
          </a:p>
          <a:p>
            <a:pPr marL="342900" indent="-342900">
              <a:buFont typeface="+mj-lt"/>
              <a:buAutoNum type="arabicPeriod"/>
            </a:pPr>
            <a:r>
              <a:rPr lang="en-US" sz="1200" b="1" dirty="0"/>
              <a:t>Your organization is considering enabling Connect for Volunteers so they can receive messages about upcoming events and log data. Which of the below is an example of a form you might have volunteers fill out via the portal?</a:t>
            </a:r>
          </a:p>
          <a:p>
            <a:pPr marL="571494" lvl="1" indent="-342900">
              <a:buFont typeface="+mj-lt"/>
              <a:buAutoNum type="alphaLcPeriod"/>
            </a:pPr>
            <a:r>
              <a:rPr lang="en-US" sz="1200" dirty="0"/>
              <a:t>Participant Evaluation</a:t>
            </a:r>
          </a:p>
          <a:p>
            <a:pPr marL="571494" lvl="1" indent="-342900">
              <a:buFont typeface="+mj-lt"/>
              <a:buAutoNum type="alphaLcPeriod"/>
            </a:pPr>
            <a:r>
              <a:rPr lang="en-US" sz="1200" dirty="0"/>
              <a:t>Individual Service</a:t>
            </a:r>
          </a:p>
          <a:p>
            <a:pPr marL="571494" lvl="1" indent="-342900">
              <a:buFont typeface="+mj-lt"/>
              <a:buAutoNum type="alphaLcPeriod"/>
            </a:pPr>
            <a:r>
              <a:rPr lang="en-US" sz="1200" dirty="0"/>
              <a:t>Volunteer Timesheet</a:t>
            </a:r>
          </a:p>
          <a:p>
            <a:pPr marL="571494" lvl="1" indent="-342900">
              <a:buFont typeface="+mj-lt"/>
              <a:buAutoNum type="alphaLcPeriod"/>
            </a:pPr>
            <a:r>
              <a:rPr lang="en-US" sz="1200" dirty="0"/>
              <a:t>Household Enrollment</a:t>
            </a:r>
          </a:p>
          <a:p>
            <a:pPr marL="342900" indent="-342900">
              <a:buFont typeface="+mj-lt"/>
              <a:buAutoNum type="arabicPeriod"/>
            </a:pPr>
            <a:endParaRPr lang="en-US" sz="1200" dirty="0"/>
          </a:p>
          <a:p>
            <a:pPr marL="342900" indent="-342900">
              <a:buFont typeface="+mj-lt"/>
              <a:buAutoNum type="arabicPeriod"/>
            </a:pPr>
            <a:r>
              <a:rPr lang="en-US" sz="1200" b="1" dirty="0"/>
              <a:t>True or False: Editing the answer choices included in a Lookup List will apply to any field where this list is in use, specifically when entering new records and/or revising previous ones.</a:t>
            </a:r>
          </a:p>
        </p:txBody>
      </p:sp>
      <p:sp>
        <p:nvSpPr>
          <p:cNvPr id="5" name="Content Placeholder 4">
            <a:extLst>
              <a:ext uri="{FF2B5EF4-FFF2-40B4-BE49-F238E27FC236}">
                <a16:creationId xmlns:a16="http://schemas.microsoft.com/office/drawing/2014/main" id="{2E5A12E8-FC00-D7D3-427F-2398A4B0AEBD}"/>
              </a:ext>
            </a:extLst>
          </p:cNvPr>
          <p:cNvSpPr>
            <a:spLocks noGrp="1"/>
          </p:cNvSpPr>
          <p:nvPr>
            <p:ph sz="half" idx="2"/>
          </p:nvPr>
        </p:nvSpPr>
        <p:spPr>
          <a:xfrm>
            <a:off x="6333149" y="1247474"/>
            <a:ext cx="5401651" cy="4912980"/>
          </a:xfrm>
        </p:spPr>
        <p:txBody>
          <a:bodyPr/>
          <a:lstStyle/>
          <a:p>
            <a:pPr marL="228600" indent="-228600">
              <a:buFont typeface="+mj-lt"/>
              <a:buAutoNum type="arabicPeriod" startAt="4"/>
            </a:pPr>
            <a:r>
              <a:rPr lang="en-US" sz="1200" b="1" dirty="0"/>
              <a:t>Your organization specializes in individual counseling and family therapy. What data might you collect in a Tier 2 underneath a Household Tier 1 Profile versus a Participant Tier 1 Profile?</a:t>
            </a:r>
          </a:p>
          <a:p>
            <a:pPr marL="457194" lvl="1" indent="-228600">
              <a:buFont typeface="+mj-lt"/>
              <a:buAutoNum type="alphaLcPeriod"/>
            </a:pPr>
            <a:r>
              <a:rPr lang="en-US" sz="1200" dirty="0"/>
              <a:t>Services Provided to the Household</a:t>
            </a:r>
          </a:p>
          <a:p>
            <a:pPr marL="457194" lvl="1" indent="-228600">
              <a:buFont typeface="+mj-lt"/>
              <a:buAutoNum type="alphaLcPeriod"/>
            </a:pPr>
            <a:r>
              <a:rPr lang="en-US" sz="1200" dirty="0"/>
              <a:t>Services Provided to Individual Members</a:t>
            </a:r>
          </a:p>
          <a:p>
            <a:pPr marL="457194" lvl="1" indent="-228600">
              <a:buFont typeface="+mj-lt"/>
              <a:buAutoNum type="alphaLcPeriod"/>
            </a:pPr>
            <a:r>
              <a:rPr lang="en-US" sz="1200" dirty="0"/>
              <a:t>Parent or Guardian Consent Forms</a:t>
            </a:r>
          </a:p>
          <a:p>
            <a:pPr marL="457194" lvl="1" indent="-228600">
              <a:buFont typeface="+mj-lt"/>
              <a:buAutoNum type="alphaLcPeriod"/>
            </a:pPr>
            <a:r>
              <a:rPr lang="en-US" sz="1200" dirty="0"/>
              <a:t>Demographics for Children</a:t>
            </a:r>
          </a:p>
          <a:p>
            <a:pPr marL="457194" lvl="1" indent="-228600">
              <a:buFont typeface="+mj-lt"/>
              <a:buAutoNum type="alphaLcPeriod"/>
            </a:pPr>
            <a:endParaRPr lang="en-US" sz="1200" dirty="0"/>
          </a:p>
          <a:p>
            <a:pPr marL="228600" indent="-228600">
              <a:buFont typeface="+mj-lt"/>
              <a:buAutoNum type="arabicPeriod" startAt="4"/>
            </a:pPr>
            <a:r>
              <a:rPr lang="en-US" sz="1200" b="1" dirty="0"/>
              <a:t>True or False: Inventory Management in Apricot can only track items you distribute to specific named Participants.</a:t>
            </a:r>
          </a:p>
          <a:p>
            <a:pPr marL="228600" indent="-228600">
              <a:buFont typeface="+mj-lt"/>
              <a:buAutoNum type="arabicPeriod" startAt="4"/>
            </a:pPr>
            <a:endParaRPr lang="en-US" sz="1200" b="1" dirty="0"/>
          </a:p>
          <a:p>
            <a:pPr marL="228600" indent="-228600">
              <a:buFont typeface="+mj-lt"/>
              <a:buAutoNum type="arabicPeriod" startAt="4"/>
            </a:pPr>
            <a:r>
              <a:rPr lang="en-US" sz="1200" b="1" dirty="0"/>
              <a:t>You are hoping to show improvement over time with Pre and Post Scores on a Soft Skills Assessment for your Workforce Program. When building a Comparison Report in Native Reporting, which date field does Apricot rely on to know which record is Pre and which is Post?</a:t>
            </a:r>
          </a:p>
          <a:p>
            <a:pPr marL="457194" lvl="1" indent="-228600">
              <a:buFont typeface="+mj-lt"/>
              <a:buAutoNum type="alphaLcPeriod"/>
            </a:pPr>
            <a:r>
              <a:rPr lang="en-US" sz="1200" dirty="0"/>
              <a:t>Any Date Field</a:t>
            </a:r>
          </a:p>
          <a:p>
            <a:pPr marL="457194" lvl="1" indent="-228600">
              <a:buFont typeface="+mj-lt"/>
              <a:buAutoNum type="alphaLcPeriod"/>
            </a:pPr>
            <a:r>
              <a:rPr lang="en-US" sz="1200" dirty="0"/>
              <a:t>Created Date</a:t>
            </a:r>
          </a:p>
          <a:p>
            <a:pPr marL="457194" lvl="1" indent="-228600">
              <a:buFont typeface="+mj-lt"/>
              <a:buAutoNum type="alphaLcPeriod"/>
            </a:pPr>
            <a:r>
              <a:rPr lang="en-US" sz="1200" dirty="0"/>
              <a:t>Modified Date</a:t>
            </a:r>
          </a:p>
          <a:p>
            <a:pPr marL="457194" lvl="1" indent="-228600">
              <a:buFont typeface="+mj-lt"/>
              <a:buAutoNum type="alphaLcPeriod"/>
            </a:pPr>
            <a:r>
              <a:rPr lang="en-US" sz="1200" dirty="0"/>
              <a:t>First Date Field</a:t>
            </a:r>
          </a:p>
          <a:p>
            <a:pPr marL="228600" indent="-228600">
              <a:buFont typeface="+mj-lt"/>
              <a:buAutoNum type="arabicPeriod" startAt="4"/>
            </a:pPr>
            <a:endParaRPr lang="en-US" sz="1200" dirty="0"/>
          </a:p>
          <a:p>
            <a:endParaRPr lang="en-US" sz="1200" dirty="0"/>
          </a:p>
        </p:txBody>
      </p:sp>
    </p:spTree>
    <p:extLst>
      <p:ext uri="{BB962C8B-B14F-4D97-AF65-F5344CB8AC3E}">
        <p14:creationId xmlns:p14="http://schemas.microsoft.com/office/powerpoint/2010/main" val="5218688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528FE-AB15-86A9-3A95-B68E24E5B76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7FE2D01-2843-A4D2-6599-2ECBF270224E}"/>
              </a:ext>
            </a:extLst>
          </p:cNvPr>
          <p:cNvSpPr>
            <a:spLocks noGrp="1"/>
          </p:cNvSpPr>
          <p:nvPr>
            <p:ph type="title"/>
          </p:nvPr>
        </p:nvSpPr>
        <p:spPr>
          <a:xfrm>
            <a:off x="457201" y="406049"/>
            <a:ext cx="11277601" cy="590646"/>
          </a:xfrm>
        </p:spPr>
        <p:txBody>
          <a:bodyPr/>
          <a:lstStyle/>
          <a:p>
            <a:r>
              <a:rPr lang="en-US" dirty="0">
                <a:solidFill>
                  <a:schemeClr val="accent1"/>
                </a:solidFill>
              </a:rPr>
              <a:t>Quiz Answers</a:t>
            </a:r>
          </a:p>
        </p:txBody>
      </p:sp>
      <p:sp>
        <p:nvSpPr>
          <p:cNvPr id="3" name="Content Placeholder 2">
            <a:extLst>
              <a:ext uri="{FF2B5EF4-FFF2-40B4-BE49-F238E27FC236}">
                <a16:creationId xmlns:a16="http://schemas.microsoft.com/office/drawing/2014/main" id="{A781872A-332D-C113-8883-BDF1D42BD692}"/>
              </a:ext>
            </a:extLst>
          </p:cNvPr>
          <p:cNvSpPr>
            <a:spLocks noGrp="1"/>
          </p:cNvSpPr>
          <p:nvPr>
            <p:ph sz="half" idx="1"/>
          </p:nvPr>
        </p:nvSpPr>
        <p:spPr>
          <a:xfrm>
            <a:off x="457200" y="1251285"/>
            <a:ext cx="5401651" cy="4912980"/>
          </a:xfrm>
        </p:spPr>
        <p:txBody>
          <a:bodyPr/>
          <a:lstStyle/>
          <a:p>
            <a:pPr marL="342900" indent="-342900">
              <a:buAutoNum type="arabicPeriod"/>
            </a:pPr>
            <a:r>
              <a:rPr lang="en-US" sz="1200" b="1" dirty="0"/>
              <a:t>What is unique about data collected on a Tier 1 Participant Profile versus any Tier 2 forms tracking Services, Case Notes, etc.?</a:t>
            </a:r>
          </a:p>
          <a:p>
            <a:pPr marL="571494" lvl="1" indent="-342900">
              <a:buFont typeface="+mj-lt"/>
              <a:buAutoNum type="alphaLcPeriod"/>
            </a:pPr>
            <a:r>
              <a:rPr lang="en-US" sz="1200" dirty="0"/>
              <a:t>Profile should capture a snapshot at time of intake that isn't updated</a:t>
            </a:r>
          </a:p>
          <a:p>
            <a:pPr marL="571494" lvl="1" indent="-342900">
              <a:buFont typeface="+mj-lt"/>
              <a:buAutoNum type="alphaLcPeriod"/>
            </a:pPr>
            <a:r>
              <a:rPr lang="en-US" sz="1200" dirty="0"/>
              <a:t>We recommend focusing on data like demographics &amp; contact info that doesn't change as a result of your services</a:t>
            </a:r>
          </a:p>
          <a:p>
            <a:pPr marL="571494" lvl="1" indent="-342900">
              <a:buFont typeface="+mj-lt"/>
              <a:buAutoNum type="alphaLcPeriod"/>
            </a:pPr>
            <a:r>
              <a:rPr lang="en-US" sz="1200" dirty="0"/>
              <a:t>Expect to fill out a new Profile for each Program Enrollment</a:t>
            </a:r>
          </a:p>
          <a:p>
            <a:pPr marL="571494" lvl="1" indent="-342900">
              <a:buFont typeface="+mj-lt"/>
              <a:buAutoNum type="alphaLcPeriod"/>
            </a:pPr>
            <a:r>
              <a:rPr lang="en-US" sz="1200" dirty="0"/>
              <a:t>None of the Above</a:t>
            </a:r>
          </a:p>
          <a:p>
            <a:pPr marL="342900" indent="-342900">
              <a:buFont typeface="+mj-lt"/>
              <a:buAutoNum type="arabicPeriod"/>
            </a:pPr>
            <a:endParaRPr lang="en-US" sz="1200" dirty="0"/>
          </a:p>
          <a:p>
            <a:pPr marL="342900" indent="-342900">
              <a:buFont typeface="+mj-lt"/>
              <a:buAutoNum type="arabicPeriod"/>
            </a:pPr>
            <a:r>
              <a:rPr lang="en-US" sz="1200" b="1" dirty="0"/>
              <a:t>Your organization is considering enabling Connect for Volunteers so they can receive messages about upcoming events and log data. Which of the below is an example of a form you might have volunteers fill out via the portal?</a:t>
            </a:r>
          </a:p>
          <a:p>
            <a:pPr marL="571494" lvl="1" indent="-342900">
              <a:buFont typeface="+mj-lt"/>
              <a:buAutoNum type="alphaLcPeriod"/>
            </a:pPr>
            <a:r>
              <a:rPr lang="en-US" sz="1200" dirty="0"/>
              <a:t>Participant Evaluation</a:t>
            </a:r>
          </a:p>
          <a:p>
            <a:pPr marL="571494" lvl="1" indent="-342900">
              <a:buFont typeface="+mj-lt"/>
              <a:buAutoNum type="alphaLcPeriod"/>
            </a:pPr>
            <a:r>
              <a:rPr lang="en-US" sz="1200" dirty="0"/>
              <a:t>Individual Service</a:t>
            </a:r>
          </a:p>
          <a:p>
            <a:pPr marL="571494" lvl="1" indent="-342900">
              <a:buFont typeface="+mj-lt"/>
              <a:buAutoNum type="alphaLcPeriod"/>
            </a:pPr>
            <a:r>
              <a:rPr lang="en-US" sz="1200" dirty="0"/>
              <a:t>Volunteer Timesheet</a:t>
            </a:r>
          </a:p>
          <a:p>
            <a:pPr marL="571494" lvl="1" indent="-342900">
              <a:buFont typeface="+mj-lt"/>
              <a:buAutoNum type="alphaLcPeriod"/>
            </a:pPr>
            <a:r>
              <a:rPr lang="en-US" sz="1200" dirty="0"/>
              <a:t>Household Enrollment</a:t>
            </a:r>
          </a:p>
          <a:p>
            <a:pPr marL="342900" indent="-342900">
              <a:buFont typeface="+mj-lt"/>
              <a:buAutoNum type="arabicPeriod"/>
            </a:pPr>
            <a:endParaRPr lang="en-US" sz="1200" dirty="0"/>
          </a:p>
          <a:p>
            <a:pPr marL="342900" indent="-342900">
              <a:buFont typeface="+mj-lt"/>
              <a:buAutoNum type="arabicPeriod"/>
            </a:pPr>
            <a:r>
              <a:rPr lang="en-US" sz="1200" b="1" dirty="0"/>
              <a:t>True or False: Editing the answer choices included in a Lookup List will apply to any field where this list is in use, specifically when entering new records and/or revising previous ones.</a:t>
            </a:r>
          </a:p>
        </p:txBody>
      </p:sp>
      <p:sp>
        <p:nvSpPr>
          <p:cNvPr id="5" name="Content Placeholder 4">
            <a:extLst>
              <a:ext uri="{FF2B5EF4-FFF2-40B4-BE49-F238E27FC236}">
                <a16:creationId xmlns:a16="http://schemas.microsoft.com/office/drawing/2014/main" id="{A3B5D200-1D0A-4F19-D09E-83D12268C8DE}"/>
              </a:ext>
            </a:extLst>
          </p:cNvPr>
          <p:cNvSpPr>
            <a:spLocks noGrp="1"/>
          </p:cNvSpPr>
          <p:nvPr>
            <p:ph sz="half" idx="2"/>
          </p:nvPr>
        </p:nvSpPr>
        <p:spPr>
          <a:xfrm>
            <a:off x="6333149" y="1247474"/>
            <a:ext cx="5401651" cy="4912980"/>
          </a:xfrm>
        </p:spPr>
        <p:txBody>
          <a:bodyPr/>
          <a:lstStyle/>
          <a:p>
            <a:pPr marL="228600" indent="-228600">
              <a:buFont typeface="+mj-lt"/>
              <a:buAutoNum type="arabicPeriod" startAt="4"/>
            </a:pPr>
            <a:r>
              <a:rPr lang="en-US" sz="1200" b="1" dirty="0"/>
              <a:t>Your organization specializes in individual counseling and family therapy. What data might you collect in a Tier 2 underneath a Household Tier 1 Profile versus a Participant Tier 1 Profile?</a:t>
            </a:r>
          </a:p>
          <a:p>
            <a:pPr marL="457194" lvl="1" indent="-228600">
              <a:buFont typeface="+mj-lt"/>
              <a:buAutoNum type="alphaLcPeriod"/>
            </a:pPr>
            <a:r>
              <a:rPr lang="en-US" sz="1200" dirty="0"/>
              <a:t>Services Provided to the Household</a:t>
            </a:r>
          </a:p>
          <a:p>
            <a:pPr marL="457194" lvl="1" indent="-228600">
              <a:buFont typeface="+mj-lt"/>
              <a:buAutoNum type="alphaLcPeriod"/>
            </a:pPr>
            <a:r>
              <a:rPr lang="en-US" sz="1200" dirty="0"/>
              <a:t>Services Provided to Individual Members</a:t>
            </a:r>
          </a:p>
          <a:p>
            <a:pPr marL="457194" lvl="1" indent="-228600">
              <a:buFont typeface="+mj-lt"/>
              <a:buAutoNum type="alphaLcPeriod"/>
            </a:pPr>
            <a:r>
              <a:rPr lang="en-US" sz="1200" dirty="0"/>
              <a:t>Parent or Guardian Consent Forms</a:t>
            </a:r>
          </a:p>
          <a:p>
            <a:pPr marL="457194" lvl="1" indent="-228600">
              <a:buFont typeface="+mj-lt"/>
              <a:buAutoNum type="alphaLcPeriod"/>
            </a:pPr>
            <a:r>
              <a:rPr lang="en-US" sz="1200" dirty="0"/>
              <a:t>Demographics for Children</a:t>
            </a:r>
          </a:p>
          <a:p>
            <a:pPr marL="457194" lvl="1" indent="-228600">
              <a:buFont typeface="+mj-lt"/>
              <a:buAutoNum type="alphaLcPeriod"/>
            </a:pPr>
            <a:endParaRPr lang="en-US" sz="1200" dirty="0"/>
          </a:p>
          <a:p>
            <a:pPr marL="228600" indent="-228600">
              <a:buFont typeface="+mj-lt"/>
              <a:buAutoNum type="arabicPeriod" startAt="4"/>
            </a:pPr>
            <a:r>
              <a:rPr lang="en-US" sz="1200" b="1" dirty="0"/>
              <a:t>True or False: Inventory Management in Apricot can only track items you distribute to specific named Participants.</a:t>
            </a:r>
          </a:p>
          <a:p>
            <a:pPr marL="228600" indent="-228600">
              <a:buFont typeface="+mj-lt"/>
              <a:buAutoNum type="arabicPeriod" startAt="4"/>
            </a:pPr>
            <a:endParaRPr lang="en-US" sz="1200" b="1" dirty="0"/>
          </a:p>
          <a:p>
            <a:pPr marL="228600" indent="-228600">
              <a:buFont typeface="+mj-lt"/>
              <a:buAutoNum type="arabicPeriod" startAt="4"/>
            </a:pPr>
            <a:r>
              <a:rPr lang="en-US" sz="1200" b="1" dirty="0"/>
              <a:t>You are hoping to show improvement over time with Pre and Post Scores on a Soft Skills Assessment for your Workforce Program. When building a Comparison Report in Native Reporting, which date field does Apricot rely on to know which record is Pre and which is Post?</a:t>
            </a:r>
          </a:p>
          <a:p>
            <a:pPr marL="457194" lvl="1" indent="-228600">
              <a:buFont typeface="+mj-lt"/>
              <a:buAutoNum type="alphaLcPeriod"/>
            </a:pPr>
            <a:r>
              <a:rPr lang="en-US" sz="1200" dirty="0"/>
              <a:t>Any Date Field</a:t>
            </a:r>
          </a:p>
          <a:p>
            <a:pPr marL="457194" lvl="1" indent="-228600">
              <a:buFont typeface="+mj-lt"/>
              <a:buAutoNum type="alphaLcPeriod"/>
            </a:pPr>
            <a:r>
              <a:rPr lang="en-US" sz="1200" dirty="0"/>
              <a:t>Created Date</a:t>
            </a:r>
          </a:p>
          <a:p>
            <a:pPr marL="457194" lvl="1" indent="-228600">
              <a:buFont typeface="+mj-lt"/>
              <a:buAutoNum type="alphaLcPeriod"/>
            </a:pPr>
            <a:r>
              <a:rPr lang="en-US" sz="1200" dirty="0"/>
              <a:t>Modified Date</a:t>
            </a:r>
          </a:p>
          <a:p>
            <a:pPr marL="457194" lvl="1" indent="-228600">
              <a:buFont typeface="+mj-lt"/>
              <a:buAutoNum type="alphaLcPeriod"/>
            </a:pPr>
            <a:r>
              <a:rPr lang="en-US" sz="1200" dirty="0"/>
              <a:t>First Date Field</a:t>
            </a:r>
          </a:p>
          <a:p>
            <a:pPr marL="228600" indent="-228600">
              <a:buFont typeface="+mj-lt"/>
              <a:buAutoNum type="arabicPeriod" startAt="4"/>
            </a:pPr>
            <a:endParaRPr lang="en-US" sz="1200" dirty="0"/>
          </a:p>
          <a:p>
            <a:endParaRPr lang="en-US" sz="1200" dirty="0"/>
          </a:p>
        </p:txBody>
      </p:sp>
      <p:sp>
        <p:nvSpPr>
          <p:cNvPr id="4" name="Oval 3">
            <a:extLst>
              <a:ext uri="{FF2B5EF4-FFF2-40B4-BE49-F238E27FC236}">
                <a16:creationId xmlns:a16="http://schemas.microsoft.com/office/drawing/2014/main" id="{726C75AE-9DFF-BBD9-528A-2E485E9A98AE}"/>
              </a:ext>
            </a:extLst>
          </p:cNvPr>
          <p:cNvSpPr/>
          <p:nvPr/>
        </p:nvSpPr>
        <p:spPr>
          <a:xfrm>
            <a:off x="589545" y="1876925"/>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7CDA3364-1FBF-DB18-471E-0AB326EE9E28}"/>
              </a:ext>
            </a:extLst>
          </p:cNvPr>
          <p:cNvSpPr/>
          <p:nvPr/>
        </p:nvSpPr>
        <p:spPr>
          <a:xfrm>
            <a:off x="6476997" y="4952998"/>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D78FEEFC-BCDD-53BD-C0B9-F4FBB50B2A12}"/>
              </a:ext>
            </a:extLst>
          </p:cNvPr>
          <p:cNvSpPr/>
          <p:nvPr/>
        </p:nvSpPr>
        <p:spPr>
          <a:xfrm>
            <a:off x="6476997" y="1816765"/>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AD595E15-305A-166D-BB13-61052411C178}"/>
              </a:ext>
            </a:extLst>
          </p:cNvPr>
          <p:cNvSpPr/>
          <p:nvPr/>
        </p:nvSpPr>
        <p:spPr>
          <a:xfrm>
            <a:off x="589545" y="4480564"/>
            <a:ext cx="274320" cy="274320"/>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87EEB50-6BE9-32D6-A27B-5D8F3F4F2456}"/>
              </a:ext>
            </a:extLst>
          </p:cNvPr>
          <p:cNvSpPr/>
          <p:nvPr/>
        </p:nvSpPr>
        <p:spPr>
          <a:xfrm>
            <a:off x="7070555" y="3136232"/>
            <a:ext cx="485276" cy="232611"/>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D9DB3D6-EF08-FA95-A737-9E7D4FDBE194}"/>
              </a:ext>
            </a:extLst>
          </p:cNvPr>
          <p:cNvSpPr/>
          <p:nvPr/>
        </p:nvSpPr>
        <p:spPr>
          <a:xfrm>
            <a:off x="771620" y="5334446"/>
            <a:ext cx="395443" cy="272269"/>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1968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61189-AE32-3CB5-4901-4A0F56879BD3}"/>
              </a:ext>
            </a:extLst>
          </p:cNvPr>
          <p:cNvSpPr>
            <a:spLocks noGrp="1"/>
          </p:cNvSpPr>
          <p:nvPr>
            <p:ph type="title"/>
          </p:nvPr>
        </p:nvSpPr>
        <p:spPr/>
        <p:txBody>
          <a:bodyPr/>
          <a:lstStyle/>
          <a:p>
            <a:r>
              <a:rPr lang="en-US" dirty="0">
                <a:solidFill>
                  <a:schemeClr val="accent1"/>
                </a:solidFill>
              </a:rPr>
              <a:t>Agenda</a:t>
            </a:r>
          </a:p>
        </p:txBody>
      </p:sp>
      <p:graphicFrame>
        <p:nvGraphicFramePr>
          <p:cNvPr id="5" name="Content Placeholder 4">
            <a:extLst>
              <a:ext uri="{FF2B5EF4-FFF2-40B4-BE49-F238E27FC236}">
                <a16:creationId xmlns:a16="http://schemas.microsoft.com/office/drawing/2014/main" id="{64CB40D9-D2FE-2212-D847-5731299BEB9C}"/>
              </a:ext>
            </a:extLst>
          </p:cNvPr>
          <p:cNvGraphicFramePr>
            <a:graphicFrameLocks noGrp="1"/>
          </p:cNvGraphicFramePr>
          <p:nvPr>
            <p:ph idx="1"/>
            <p:extLst>
              <p:ext uri="{D42A27DB-BD31-4B8C-83A1-F6EECF244321}">
                <p14:modId xmlns:p14="http://schemas.microsoft.com/office/powerpoint/2010/main" val="2509992215"/>
              </p:ext>
            </p:extLst>
          </p:nvPr>
        </p:nvGraphicFramePr>
        <p:xfrm>
          <a:off x="457199" y="1216818"/>
          <a:ext cx="11277600" cy="44243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a:extLst>
              <a:ext uri="{FF2B5EF4-FFF2-40B4-BE49-F238E27FC236}">
                <a16:creationId xmlns:a16="http://schemas.microsoft.com/office/drawing/2014/main" id="{75551FBD-031B-38A7-FB4B-D848707BE77C}"/>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26015618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0C059-D652-1C55-EA87-5825E6399E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F6A1CB-A0AB-D12E-D1E5-6E0F85430EF9}"/>
              </a:ext>
            </a:extLst>
          </p:cNvPr>
          <p:cNvSpPr>
            <a:spLocks noGrp="1"/>
          </p:cNvSpPr>
          <p:nvPr>
            <p:ph type="ctrTitle"/>
          </p:nvPr>
        </p:nvSpPr>
        <p:spPr>
          <a:xfrm>
            <a:off x="1492380" y="2148840"/>
            <a:ext cx="9207239" cy="2560320"/>
          </a:xfrm>
        </p:spPr>
        <p:txBody>
          <a:bodyPr/>
          <a:lstStyle/>
          <a:p>
            <a:pPr algn="ctr"/>
            <a:r>
              <a:rPr lang="en-US" dirty="0"/>
              <a:t>Q&amp;A</a:t>
            </a:r>
          </a:p>
        </p:txBody>
      </p:sp>
    </p:spTree>
    <p:extLst>
      <p:ext uri="{BB962C8B-B14F-4D97-AF65-F5344CB8AC3E}">
        <p14:creationId xmlns:p14="http://schemas.microsoft.com/office/powerpoint/2010/main" val="21793956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6133BB-70E4-4698-B0CF-F6BE75AF0D38}"/>
              </a:ext>
            </a:extLst>
          </p:cNvPr>
          <p:cNvSpPr>
            <a:spLocks noGrp="1"/>
          </p:cNvSpPr>
          <p:nvPr>
            <p:ph type="title"/>
          </p:nvPr>
        </p:nvSpPr>
        <p:spPr/>
        <p:txBody>
          <a:bodyPr/>
          <a:lstStyle/>
          <a:p>
            <a:r>
              <a:rPr lang="en-US" dirty="0">
                <a:solidFill>
                  <a:schemeClr val="accent1"/>
                </a:solidFill>
              </a:rPr>
              <a:t>Q&amp;A</a:t>
            </a:r>
          </a:p>
        </p:txBody>
      </p:sp>
      <p:sp>
        <p:nvSpPr>
          <p:cNvPr id="5" name="Content Placeholder 4">
            <a:extLst>
              <a:ext uri="{FF2B5EF4-FFF2-40B4-BE49-F238E27FC236}">
                <a16:creationId xmlns:a16="http://schemas.microsoft.com/office/drawing/2014/main" id="{77A73195-E19B-C87D-DAEB-2891B35E1948}"/>
              </a:ext>
            </a:extLst>
          </p:cNvPr>
          <p:cNvSpPr>
            <a:spLocks noGrp="1"/>
          </p:cNvSpPr>
          <p:nvPr>
            <p:ph idx="1"/>
          </p:nvPr>
        </p:nvSpPr>
        <p:spPr>
          <a:xfrm>
            <a:off x="457201" y="1457925"/>
            <a:ext cx="11277599" cy="4703799"/>
          </a:xfrm>
        </p:spPr>
        <p:txBody>
          <a:bodyPr/>
          <a:lstStyle/>
          <a:p>
            <a:pPr marL="342900" indent="-342900">
              <a:buFont typeface="Arial" panose="020B0604020202020204" pitchFamily="34" charset="0"/>
              <a:buChar char="•"/>
            </a:pPr>
            <a:r>
              <a:rPr lang="en-US" sz="2400" dirty="0">
                <a:solidFill>
                  <a:schemeClr val="accent1"/>
                </a:solidFill>
              </a:rPr>
              <a:t>Ask questions about functionality</a:t>
            </a:r>
          </a:p>
          <a:p>
            <a:pPr marL="342900" indent="-342900">
              <a:buFont typeface="Arial" panose="020B0604020202020204" pitchFamily="34" charset="0"/>
              <a:buChar char="•"/>
            </a:pPr>
            <a:r>
              <a:rPr lang="en-US" sz="2400" dirty="0">
                <a:solidFill>
                  <a:schemeClr val="accent1"/>
                </a:solidFill>
              </a:rPr>
              <a:t>Ask trainer to demo features</a:t>
            </a:r>
          </a:p>
          <a:p>
            <a:pPr marL="342900" indent="-342900">
              <a:buFont typeface="Arial" panose="020B0604020202020204" pitchFamily="34" charset="0"/>
              <a:buChar char="•"/>
            </a:pPr>
            <a:r>
              <a:rPr lang="en-US" sz="2400" dirty="0">
                <a:solidFill>
                  <a:schemeClr val="accent1"/>
                </a:solidFill>
              </a:rPr>
              <a:t>Ask real-life application questions</a:t>
            </a:r>
          </a:p>
          <a:p>
            <a:endParaRPr lang="en-US" sz="2400" dirty="0">
              <a:solidFill>
                <a:schemeClr val="accent1"/>
              </a:solidFill>
            </a:endParaRPr>
          </a:p>
          <a:p>
            <a:endParaRPr lang="en-US" sz="2400" dirty="0"/>
          </a:p>
        </p:txBody>
      </p:sp>
      <p:sp>
        <p:nvSpPr>
          <p:cNvPr id="6" name="Text Placeholder 5">
            <a:extLst>
              <a:ext uri="{FF2B5EF4-FFF2-40B4-BE49-F238E27FC236}">
                <a16:creationId xmlns:a16="http://schemas.microsoft.com/office/drawing/2014/main" id="{FA98DAD3-969D-9D8E-C665-4A65DFE879C6}"/>
              </a:ext>
            </a:extLst>
          </p:cNvPr>
          <p:cNvSpPr>
            <a:spLocks noGrp="1"/>
          </p:cNvSpPr>
          <p:nvPr>
            <p:ph type="body" sz="half" idx="2"/>
          </p:nvPr>
        </p:nvSpPr>
        <p:spPr/>
        <p:txBody>
          <a:bodyPr/>
          <a:lstStyle/>
          <a:p>
            <a:endParaRPr lang="en-US"/>
          </a:p>
        </p:txBody>
      </p:sp>
      <p:pic>
        <p:nvPicPr>
          <p:cNvPr id="8" name="Picture 7">
            <a:extLst>
              <a:ext uri="{FF2B5EF4-FFF2-40B4-BE49-F238E27FC236}">
                <a16:creationId xmlns:a16="http://schemas.microsoft.com/office/drawing/2014/main" id="{53413BED-A88E-8751-D455-47D5E49A87A8}"/>
              </a:ext>
            </a:extLst>
          </p:cNvPr>
          <p:cNvPicPr>
            <a:picLocks noChangeAspect="1"/>
          </p:cNvPicPr>
          <p:nvPr/>
        </p:nvPicPr>
        <p:blipFill rotWithShape="1">
          <a:blip r:embed="rId3"/>
          <a:srcRect l="10206" t="15645" r="10206" b="4767"/>
          <a:stretch/>
        </p:blipFill>
        <p:spPr>
          <a:xfrm>
            <a:off x="7460974" y="801255"/>
            <a:ext cx="5069959" cy="5069959"/>
          </a:xfrm>
          <a:prstGeom prst="ellipse">
            <a:avLst/>
          </a:prstGeom>
        </p:spPr>
      </p:pic>
    </p:spTree>
    <p:extLst>
      <p:ext uri="{BB962C8B-B14F-4D97-AF65-F5344CB8AC3E}">
        <p14:creationId xmlns:p14="http://schemas.microsoft.com/office/powerpoint/2010/main" val="38090035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EE8FE5-B784-DC39-A664-062B6D440E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8D25DD-4AB3-7744-B64B-66341F7DDB77}"/>
              </a:ext>
            </a:extLst>
          </p:cNvPr>
          <p:cNvSpPr>
            <a:spLocks noGrp="1"/>
          </p:cNvSpPr>
          <p:nvPr>
            <p:ph type="ctrTitle"/>
          </p:nvPr>
        </p:nvSpPr>
        <p:spPr>
          <a:xfrm>
            <a:off x="1492380" y="2148840"/>
            <a:ext cx="9207239" cy="2560320"/>
          </a:xfrm>
        </p:spPr>
        <p:txBody>
          <a:bodyPr/>
          <a:lstStyle/>
          <a:p>
            <a:pPr algn="ctr"/>
            <a:r>
              <a:rPr lang="en-US" dirty="0"/>
              <a:t>Closing</a:t>
            </a:r>
          </a:p>
        </p:txBody>
      </p:sp>
    </p:spTree>
    <p:extLst>
      <p:ext uri="{BB962C8B-B14F-4D97-AF65-F5344CB8AC3E}">
        <p14:creationId xmlns:p14="http://schemas.microsoft.com/office/powerpoint/2010/main" val="8834784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39B47A-47CA-7BBC-7F44-DF7A9EB24B05}"/>
              </a:ext>
            </a:extLst>
          </p:cNvPr>
          <p:cNvSpPr>
            <a:spLocks noGrp="1"/>
          </p:cNvSpPr>
          <p:nvPr>
            <p:ph type="title"/>
          </p:nvPr>
        </p:nvSpPr>
        <p:spPr/>
        <p:txBody>
          <a:bodyPr>
            <a:normAutofit/>
          </a:bodyPr>
          <a:lstStyle/>
          <a:p>
            <a:r>
              <a:rPr lang="en-US" dirty="0"/>
              <a:t>Training Resources</a:t>
            </a:r>
          </a:p>
        </p:txBody>
      </p:sp>
      <p:sp>
        <p:nvSpPr>
          <p:cNvPr id="9" name="Text Placeholder 2">
            <a:extLst>
              <a:ext uri="{FF2B5EF4-FFF2-40B4-BE49-F238E27FC236}">
                <a16:creationId xmlns:a16="http://schemas.microsoft.com/office/drawing/2014/main" id="{9889E712-D325-C0E0-4FC9-333588FAE41B}"/>
              </a:ext>
            </a:extLst>
          </p:cNvPr>
          <p:cNvSpPr>
            <a:spLocks noGrp="1"/>
          </p:cNvSpPr>
          <p:nvPr>
            <p:ph type="body" sz="quarter" idx="10"/>
          </p:nvPr>
        </p:nvSpPr>
        <p:spPr>
          <a:xfrm>
            <a:off x="457198" y="1908312"/>
            <a:ext cx="7061201" cy="4254743"/>
          </a:xfrm>
        </p:spPr>
        <p:txBody>
          <a:bodyPr/>
          <a:lstStyle/>
          <a:p>
            <a:pPr marL="285750" indent="-285750">
              <a:spcBef>
                <a:spcPts val="1200"/>
              </a:spcBef>
              <a:buFont typeface="Arial" panose="020B0604020202020204" pitchFamily="34" charset="0"/>
              <a:buChar char="•"/>
            </a:pPr>
            <a:r>
              <a:rPr lang="en-US" dirty="0">
                <a:solidFill>
                  <a:schemeClr val="accent1"/>
                </a:solidFill>
                <a:hlinkClick r:id="rId3"/>
              </a:rPr>
              <a:t>Knowledge Base</a:t>
            </a:r>
            <a:r>
              <a:rPr lang="en-US" dirty="0">
                <a:solidFill>
                  <a:schemeClr val="accent1"/>
                </a:solidFill>
              </a:rPr>
              <a:t> – How-To Articles (Search Chat or Visit Online)</a:t>
            </a:r>
          </a:p>
          <a:p>
            <a:pPr marL="285750" indent="-285750">
              <a:spcBef>
                <a:spcPts val="1200"/>
              </a:spcBef>
              <a:buFont typeface="Arial" panose="020B0604020202020204" pitchFamily="34" charset="0"/>
              <a:buChar char="•"/>
            </a:pPr>
            <a:r>
              <a:rPr lang="en-US" dirty="0">
                <a:solidFill>
                  <a:schemeClr val="accent1"/>
                </a:solidFill>
                <a:hlinkClick r:id="rId4"/>
              </a:rPr>
              <a:t>Bonterra Academy</a:t>
            </a:r>
            <a:r>
              <a:rPr lang="en-US" dirty="0">
                <a:solidFill>
                  <a:schemeClr val="accent1"/>
                </a:solidFill>
              </a:rPr>
              <a:t> – Free Webinars &amp; Recordings</a:t>
            </a:r>
          </a:p>
          <a:p>
            <a:pPr marL="285750" indent="-285750">
              <a:spcBef>
                <a:spcPts val="1200"/>
              </a:spcBef>
              <a:buFont typeface="Arial" panose="020B0604020202020204" pitchFamily="34" charset="0"/>
              <a:buChar char="•"/>
            </a:pPr>
            <a:r>
              <a:rPr lang="en-US" dirty="0">
                <a:solidFill>
                  <a:schemeClr val="accent1"/>
                </a:solidFill>
                <a:hlinkClick r:id="rId5"/>
              </a:rPr>
              <a:t>Foundations</a:t>
            </a:r>
            <a:r>
              <a:rPr lang="en-US" dirty="0">
                <a:solidFill>
                  <a:schemeClr val="accent1"/>
                </a:solidFill>
              </a:rPr>
              <a:t> – Intensive, Multiday Courses to Cover Admin Basics</a:t>
            </a:r>
          </a:p>
          <a:p>
            <a:pPr marL="285750" indent="-285750">
              <a:spcBef>
                <a:spcPts val="1200"/>
              </a:spcBef>
              <a:buFont typeface="Arial" panose="020B0604020202020204" pitchFamily="34" charset="0"/>
              <a:buChar char="•"/>
            </a:pPr>
            <a:r>
              <a:rPr lang="en-US" dirty="0">
                <a:solidFill>
                  <a:schemeClr val="accent1"/>
                </a:solidFill>
                <a:hlinkClick r:id="rId5"/>
              </a:rPr>
              <a:t>Admin Labs</a:t>
            </a:r>
            <a:r>
              <a:rPr lang="en-US" dirty="0">
                <a:solidFill>
                  <a:schemeClr val="accent1"/>
                </a:solidFill>
              </a:rPr>
              <a:t> – 2 Hour Live Trainings on Specific Capabilities</a:t>
            </a:r>
          </a:p>
          <a:p>
            <a:pPr marL="285750" indent="-285750">
              <a:spcBef>
                <a:spcPts val="1200"/>
              </a:spcBef>
              <a:buFont typeface="Arial" panose="020B0604020202020204" pitchFamily="34" charset="0"/>
              <a:buChar char="•"/>
            </a:pPr>
            <a:r>
              <a:rPr lang="en-US" dirty="0">
                <a:solidFill>
                  <a:schemeClr val="accent1"/>
                </a:solidFill>
                <a:hlinkClick r:id="rId6"/>
              </a:rPr>
              <a:t>Private Training</a:t>
            </a:r>
            <a:r>
              <a:rPr lang="en-US" dirty="0">
                <a:solidFill>
                  <a:schemeClr val="accent1"/>
                </a:solidFill>
              </a:rPr>
              <a:t> – 1:1 Sessions with Training Expert in Your Apricot (End User &amp; Admin Topics Available)</a:t>
            </a:r>
          </a:p>
        </p:txBody>
      </p:sp>
      <p:sp>
        <p:nvSpPr>
          <p:cNvPr id="2" name="TextBox 1">
            <a:extLst>
              <a:ext uri="{FF2B5EF4-FFF2-40B4-BE49-F238E27FC236}">
                <a16:creationId xmlns:a16="http://schemas.microsoft.com/office/drawing/2014/main" id="{55881F3D-C755-8CF0-97D1-8002B33E900D}"/>
              </a:ext>
            </a:extLst>
          </p:cNvPr>
          <p:cNvSpPr txBox="1"/>
          <p:nvPr/>
        </p:nvSpPr>
        <p:spPr>
          <a:xfrm>
            <a:off x="4424855" y="3626069"/>
            <a:ext cx="0" cy="0"/>
          </a:xfrm>
          <a:prstGeom prst="rect">
            <a:avLst/>
          </a:prstGeom>
          <a:noFill/>
        </p:spPr>
        <p:txBody>
          <a:bodyPr wrap="none" lIns="0" tIns="0" rIns="0" bIns="0" rtlCol="0">
            <a:noAutofit/>
          </a:bodyPr>
          <a:lstStyle/>
          <a:p>
            <a:pPr algn="l"/>
            <a:endParaRPr lang="en-US"/>
          </a:p>
        </p:txBody>
      </p:sp>
      <p:sp>
        <p:nvSpPr>
          <p:cNvPr id="4" name="TextBox 3">
            <a:extLst>
              <a:ext uri="{FF2B5EF4-FFF2-40B4-BE49-F238E27FC236}">
                <a16:creationId xmlns:a16="http://schemas.microsoft.com/office/drawing/2014/main" id="{5B46DC33-7B90-4DAB-F833-671930E5BA31}"/>
              </a:ext>
            </a:extLst>
          </p:cNvPr>
          <p:cNvSpPr txBox="1"/>
          <p:nvPr/>
        </p:nvSpPr>
        <p:spPr>
          <a:xfrm>
            <a:off x="2848303" y="2638097"/>
            <a:ext cx="0" cy="0"/>
          </a:xfrm>
          <a:prstGeom prst="rect">
            <a:avLst/>
          </a:prstGeom>
          <a:noFill/>
        </p:spPr>
        <p:txBody>
          <a:bodyPr wrap="none" lIns="0" tIns="0" rIns="0" bIns="0" rtlCol="0">
            <a:noAutofit/>
          </a:bodyPr>
          <a:lstStyle/>
          <a:p>
            <a:pPr algn="l"/>
            <a:endParaRPr lang="en-US"/>
          </a:p>
        </p:txBody>
      </p:sp>
      <p:sp>
        <p:nvSpPr>
          <p:cNvPr id="5" name="TextBox 4">
            <a:extLst>
              <a:ext uri="{FF2B5EF4-FFF2-40B4-BE49-F238E27FC236}">
                <a16:creationId xmlns:a16="http://schemas.microsoft.com/office/drawing/2014/main" id="{D6E41AD5-F01E-1A56-A33A-FF5E1495B70B}"/>
              </a:ext>
            </a:extLst>
          </p:cNvPr>
          <p:cNvSpPr txBox="1"/>
          <p:nvPr/>
        </p:nvSpPr>
        <p:spPr>
          <a:xfrm>
            <a:off x="5412828" y="4372303"/>
            <a:ext cx="0" cy="0"/>
          </a:xfrm>
          <a:prstGeom prst="rect">
            <a:avLst/>
          </a:prstGeom>
          <a:noFill/>
        </p:spPr>
        <p:txBody>
          <a:bodyPr wrap="none" lIns="0" tIns="0" rIns="0" bIns="0" rtlCol="0">
            <a:noAutofit/>
          </a:bodyPr>
          <a:lstStyle/>
          <a:p>
            <a:pPr algn="l"/>
            <a:endParaRPr lang="en-US"/>
          </a:p>
        </p:txBody>
      </p:sp>
      <p:sp>
        <p:nvSpPr>
          <p:cNvPr id="6" name="TextBox 5">
            <a:extLst>
              <a:ext uri="{FF2B5EF4-FFF2-40B4-BE49-F238E27FC236}">
                <a16:creationId xmlns:a16="http://schemas.microsoft.com/office/drawing/2014/main" id="{1732F74B-E558-B05E-FE50-C00BC01C48C4}"/>
              </a:ext>
            </a:extLst>
          </p:cNvPr>
          <p:cNvSpPr txBox="1"/>
          <p:nvPr/>
        </p:nvSpPr>
        <p:spPr>
          <a:xfrm>
            <a:off x="5150069" y="4235669"/>
            <a:ext cx="0" cy="0"/>
          </a:xfrm>
          <a:prstGeom prst="rect">
            <a:avLst/>
          </a:prstGeom>
          <a:noFill/>
        </p:spPr>
        <p:txBody>
          <a:bodyPr wrap="none" lIns="0" tIns="0" rIns="0" bIns="0" rtlCol="0">
            <a:noAutofit/>
          </a:bodyPr>
          <a:lstStyle/>
          <a:p>
            <a:pPr algn="l"/>
            <a:endParaRPr lang="en-US"/>
          </a:p>
        </p:txBody>
      </p:sp>
      <p:pic>
        <p:nvPicPr>
          <p:cNvPr id="10" name="Picture Placeholder 10" descr="A person sitting in a chair with a computer&#10;&#10;Description automatically generated with low confidence">
            <a:extLst>
              <a:ext uri="{FF2B5EF4-FFF2-40B4-BE49-F238E27FC236}">
                <a16:creationId xmlns:a16="http://schemas.microsoft.com/office/drawing/2014/main" id="{68882AC6-10CC-0746-C001-21D7C24BD91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5294" r="103"/>
          <a:stretch/>
        </p:blipFill>
        <p:spPr>
          <a:xfrm>
            <a:off x="7864187" y="1903799"/>
            <a:ext cx="3944704" cy="2487241"/>
          </a:xfrm>
          <a:prstGeom prst="roundRect">
            <a:avLst>
              <a:gd name="adj" fmla="val 1906"/>
            </a:avLst>
          </a:prstGeom>
        </p:spPr>
      </p:pic>
      <p:sp>
        <p:nvSpPr>
          <p:cNvPr id="11" name="Text Placeholder 3">
            <a:extLst>
              <a:ext uri="{FF2B5EF4-FFF2-40B4-BE49-F238E27FC236}">
                <a16:creationId xmlns:a16="http://schemas.microsoft.com/office/drawing/2014/main" id="{BF78721C-1549-7607-55AE-BA1E3193EDFC}"/>
              </a:ext>
            </a:extLst>
          </p:cNvPr>
          <p:cNvSpPr txBox="1">
            <a:spLocks/>
          </p:cNvSpPr>
          <p:nvPr/>
        </p:nvSpPr>
        <p:spPr>
          <a:xfrm>
            <a:off x="8026358" y="4592219"/>
            <a:ext cx="3620361" cy="1988334"/>
          </a:xfrm>
          <a:prstGeom prst="rect">
            <a:avLst/>
          </a:prstGeom>
        </p:spPr>
        <p:txBody>
          <a:bodyPr>
            <a:norm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225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75"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63"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88"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solidFill>
                  <a:schemeClr val="tx2"/>
                </a:solidFill>
              </a:rPr>
              <a:t>Build confidence &amp; knowledge in our software!</a:t>
            </a:r>
          </a:p>
        </p:txBody>
      </p:sp>
      <p:pic>
        <p:nvPicPr>
          <p:cNvPr id="8" name="Picture 7">
            <a:extLst>
              <a:ext uri="{FF2B5EF4-FFF2-40B4-BE49-F238E27FC236}">
                <a16:creationId xmlns:a16="http://schemas.microsoft.com/office/drawing/2014/main" id="{F4B17CAC-A6BF-DB87-E708-6D70BAB33938}"/>
              </a:ext>
            </a:extLst>
          </p:cNvPr>
          <p:cNvPicPr>
            <a:picLocks noChangeAspect="1"/>
          </p:cNvPicPr>
          <p:nvPr/>
        </p:nvPicPr>
        <p:blipFill>
          <a:blip r:embed="rId8"/>
          <a:stretch>
            <a:fillRect/>
          </a:stretch>
        </p:blipFill>
        <p:spPr>
          <a:xfrm>
            <a:off x="4044" y="0"/>
            <a:ext cx="107366" cy="6858000"/>
          </a:xfrm>
          <a:prstGeom prst="rect">
            <a:avLst/>
          </a:prstGeom>
        </p:spPr>
      </p:pic>
    </p:spTree>
    <p:extLst>
      <p:ext uri="{BB962C8B-B14F-4D97-AF65-F5344CB8AC3E}">
        <p14:creationId xmlns:p14="http://schemas.microsoft.com/office/powerpoint/2010/main" val="23499969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0BC31FE1-EECF-DEB8-3E2D-49711E4E0569}"/>
              </a:ext>
            </a:extLst>
          </p:cNvPr>
          <p:cNvSpPr>
            <a:spLocks noGrp="1"/>
          </p:cNvSpPr>
          <p:nvPr>
            <p:ph type="title"/>
          </p:nvPr>
        </p:nvSpPr>
        <p:spPr/>
        <p:txBody>
          <a:bodyPr/>
          <a:lstStyle/>
          <a:p>
            <a:r>
              <a:rPr lang="en-US"/>
              <a:t>Customer Support</a:t>
            </a:r>
          </a:p>
        </p:txBody>
      </p:sp>
      <p:sp>
        <p:nvSpPr>
          <p:cNvPr id="2" name="TextBox 1">
            <a:extLst>
              <a:ext uri="{FF2B5EF4-FFF2-40B4-BE49-F238E27FC236}">
                <a16:creationId xmlns:a16="http://schemas.microsoft.com/office/drawing/2014/main" id="{55881F3D-C755-8CF0-97D1-8002B33E900D}"/>
              </a:ext>
            </a:extLst>
          </p:cNvPr>
          <p:cNvSpPr txBox="1"/>
          <p:nvPr/>
        </p:nvSpPr>
        <p:spPr>
          <a:xfrm>
            <a:off x="4424855" y="3626069"/>
            <a:ext cx="0" cy="0"/>
          </a:xfrm>
          <a:prstGeom prst="rect">
            <a:avLst/>
          </a:prstGeom>
          <a:noFill/>
        </p:spPr>
        <p:txBody>
          <a:bodyPr wrap="none" lIns="0" tIns="0" rIns="0" bIns="0" rtlCol="0">
            <a:noAutofit/>
          </a:bodyPr>
          <a:lstStyle/>
          <a:p>
            <a:pPr algn="l"/>
            <a:endParaRPr lang="en-US"/>
          </a:p>
        </p:txBody>
      </p:sp>
      <p:sp>
        <p:nvSpPr>
          <p:cNvPr id="4" name="TextBox 3">
            <a:extLst>
              <a:ext uri="{FF2B5EF4-FFF2-40B4-BE49-F238E27FC236}">
                <a16:creationId xmlns:a16="http://schemas.microsoft.com/office/drawing/2014/main" id="{5B46DC33-7B90-4DAB-F833-671930E5BA31}"/>
              </a:ext>
            </a:extLst>
          </p:cNvPr>
          <p:cNvSpPr txBox="1"/>
          <p:nvPr/>
        </p:nvSpPr>
        <p:spPr>
          <a:xfrm>
            <a:off x="2848303" y="2638097"/>
            <a:ext cx="0" cy="0"/>
          </a:xfrm>
          <a:prstGeom prst="rect">
            <a:avLst/>
          </a:prstGeom>
          <a:noFill/>
        </p:spPr>
        <p:txBody>
          <a:bodyPr wrap="none" lIns="0" tIns="0" rIns="0" bIns="0" rtlCol="0">
            <a:noAutofit/>
          </a:bodyPr>
          <a:lstStyle/>
          <a:p>
            <a:pPr algn="l"/>
            <a:endParaRPr lang="en-US"/>
          </a:p>
        </p:txBody>
      </p:sp>
      <p:sp>
        <p:nvSpPr>
          <p:cNvPr id="5" name="TextBox 4">
            <a:extLst>
              <a:ext uri="{FF2B5EF4-FFF2-40B4-BE49-F238E27FC236}">
                <a16:creationId xmlns:a16="http://schemas.microsoft.com/office/drawing/2014/main" id="{D6E41AD5-F01E-1A56-A33A-FF5E1495B70B}"/>
              </a:ext>
            </a:extLst>
          </p:cNvPr>
          <p:cNvSpPr txBox="1"/>
          <p:nvPr/>
        </p:nvSpPr>
        <p:spPr>
          <a:xfrm>
            <a:off x="5412828" y="4372303"/>
            <a:ext cx="0" cy="0"/>
          </a:xfrm>
          <a:prstGeom prst="rect">
            <a:avLst/>
          </a:prstGeom>
          <a:noFill/>
        </p:spPr>
        <p:txBody>
          <a:bodyPr wrap="none" lIns="0" tIns="0" rIns="0" bIns="0" rtlCol="0">
            <a:noAutofit/>
          </a:bodyPr>
          <a:lstStyle/>
          <a:p>
            <a:pPr algn="l"/>
            <a:endParaRPr lang="en-US"/>
          </a:p>
        </p:txBody>
      </p:sp>
      <p:sp>
        <p:nvSpPr>
          <p:cNvPr id="6" name="TextBox 5">
            <a:extLst>
              <a:ext uri="{FF2B5EF4-FFF2-40B4-BE49-F238E27FC236}">
                <a16:creationId xmlns:a16="http://schemas.microsoft.com/office/drawing/2014/main" id="{1732F74B-E558-B05E-FE50-C00BC01C48C4}"/>
              </a:ext>
            </a:extLst>
          </p:cNvPr>
          <p:cNvSpPr txBox="1"/>
          <p:nvPr/>
        </p:nvSpPr>
        <p:spPr>
          <a:xfrm>
            <a:off x="5150069" y="4235669"/>
            <a:ext cx="0" cy="0"/>
          </a:xfrm>
          <a:prstGeom prst="rect">
            <a:avLst/>
          </a:prstGeom>
          <a:noFill/>
        </p:spPr>
        <p:txBody>
          <a:bodyPr wrap="none" lIns="0" tIns="0" rIns="0" bIns="0" rtlCol="0">
            <a:noAutofit/>
          </a:bodyPr>
          <a:lstStyle/>
          <a:p>
            <a:pPr algn="l"/>
            <a:endParaRPr lang="en-US"/>
          </a:p>
        </p:txBody>
      </p:sp>
      <p:sp>
        <p:nvSpPr>
          <p:cNvPr id="17" name="TextBox 16">
            <a:extLst>
              <a:ext uri="{FF2B5EF4-FFF2-40B4-BE49-F238E27FC236}">
                <a16:creationId xmlns:a16="http://schemas.microsoft.com/office/drawing/2014/main" id="{2D28FC34-8426-C4DE-62EA-EE2C4A0AFFCA}"/>
              </a:ext>
            </a:extLst>
          </p:cNvPr>
          <p:cNvSpPr txBox="1"/>
          <p:nvPr/>
        </p:nvSpPr>
        <p:spPr>
          <a:xfrm>
            <a:off x="4424855" y="3626069"/>
            <a:ext cx="0" cy="0"/>
          </a:xfrm>
          <a:prstGeom prst="rect">
            <a:avLst/>
          </a:prstGeom>
          <a:noFill/>
        </p:spPr>
        <p:txBody>
          <a:bodyPr wrap="none" lIns="0" tIns="0" rIns="0" bIns="0" rtlCol="0">
            <a:noAutofit/>
          </a:bodyPr>
          <a:lstStyle/>
          <a:p>
            <a:pPr algn="l"/>
            <a:endParaRPr lang="en-US"/>
          </a:p>
        </p:txBody>
      </p:sp>
      <p:sp>
        <p:nvSpPr>
          <p:cNvPr id="18" name="TextBox 17">
            <a:extLst>
              <a:ext uri="{FF2B5EF4-FFF2-40B4-BE49-F238E27FC236}">
                <a16:creationId xmlns:a16="http://schemas.microsoft.com/office/drawing/2014/main" id="{83CF33F2-D25B-9BBE-F4B8-347D61C8602C}"/>
              </a:ext>
            </a:extLst>
          </p:cNvPr>
          <p:cNvSpPr txBox="1"/>
          <p:nvPr/>
        </p:nvSpPr>
        <p:spPr>
          <a:xfrm>
            <a:off x="2848303" y="2638097"/>
            <a:ext cx="0" cy="0"/>
          </a:xfrm>
          <a:prstGeom prst="rect">
            <a:avLst/>
          </a:prstGeom>
          <a:noFill/>
        </p:spPr>
        <p:txBody>
          <a:bodyPr wrap="none" lIns="0" tIns="0" rIns="0" bIns="0" rtlCol="0">
            <a:noAutofit/>
          </a:bodyPr>
          <a:lstStyle/>
          <a:p>
            <a:pPr algn="l"/>
            <a:endParaRPr lang="en-US"/>
          </a:p>
        </p:txBody>
      </p:sp>
      <p:sp>
        <p:nvSpPr>
          <p:cNvPr id="19" name="TextBox 18">
            <a:extLst>
              <a:ext uri="{FF2B5EF4-FFF2-40B4-BE49-F238E27FC236}">
                <a16:creationId xmlns:a16="http://schemas.microsoft.com/office/drawing/2014/main" id="{4B1A4064-E001-662B-93A7-3C182250FD37}"/>
              </a:ext>
            </a:extLst>
          </p:cNvPr>
          <p:cNvSpPr txBox="1"/>
          <p:nvPr/>
        </p:nvSpPr>
        <p:spPr>
          <a:xfrm>
            <a:off x="5412828" y="4372303"/>
            <a:ext cx="0" cy="0"/>
          </a:xfrm>
          <a:prstGeom prst="rect">
            <a:avLst/>
          </a:prstGeom>
          <a:noFill/>
        </p:spPr>
        <p:txBody>
          <a:bodyPr wrap="none" lIns="0" tIns="0" rIns="0" bIns="0" rtlCol="0">
            <a:noAutofit/>
          </a:bodyPr>
          <a:lstStyle/>
          <a:p>
            <a:pPr algn="l"/>
            <a:endParaRPr lang="en-US"/>
          </a:p>
        </p:txBody>
      </p:sp>
      <p:sp>
        <p:nvSpPr>
          <p:cNvPr id="20" name="TextBox 19">
            <a:extLst>
              <a:ext uri="{FF2B5EF4-FFF2-40B4-BE49-F238E27FC236}">
                <a16:creationId xmlns:a16="http://schemas.microsoft.com/office/drawing/2014/main" id="{E6B4E322-CB55-592A-A849-B711EB2E7A8B}"/>
              </a:ext>
            </a:extLst>
          </p:cNvPr>
          <p:cNvSpPr txBox="1"/>
          <p:nvPr/>
        </p:nvSpPr>
        <p:spPr>
          <a:xfrm>
            <a:off x="5150069" y="4235669"/>
            <a:ext cx="0" cy="0"/>
          </a:xfrm>
          <a:prstGeom prst="rect">
            <a:avLst/>
          </a:prstGeom>
          <a:noFill/>
        </p:spPr>
        <p:txBody>
          <a:bodyPr wrap="none" lIns="0" tIns="0" rIns="0" bIns="0" rtlCol="0">
            <a:noAutofit/>
          </a:bodyPr>
          <a:lstStyle/>
          <a:p>
            <a:pPr algn="l"/>
            <a:endParaRPr lang="en-US"/>
          </a:p>
        </p:txBody>
      </p:sp>
      <p:sp>
        <p:nvSpPr>
          <p:cNvPr id="24" name="Text Placeholder 2">
            <a:extLst>
              <a:ext uri="{FF2B5EF4-FFF2-40B4-BE49-F238E27FC236}">
                <a16:creationId xmlns:a16="http://schemas.microsoft.com/office/drawing/2014/main" id="{B635625F-ACE7-FFFE-2525-5DC5B19654B8}"/>
              </a:ext>
            </a:extLst>
          </p:cNvPr>
          <p:cNvSpPr txBox="1">
            <a:spLocks/>
          </p:cNvSpPr>
          <p:nvPr/>
        </p:nvSpPr>
        <p:spPr>
          <a:xfrm>
            <a:off x="609598" y="1889760"/>
            <a:ext cx="6898298" cy="4425696"/>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2250" algn="l" defTabSz="914400" rtl="0" eaLnBrk="1" latinLnBrk="0" hangingPunct="1">
              <a:lnSpc>
                <a:spcPct val="10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688975"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147763"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1601788" indent="-230188" algn="l" defTabSz="914400" rtl="0" eaLnBrk="1" latinLnBrk="0" hangingPunct="1">
              <a:lnSpc>
                <a:spcPct val="100000"/>
              </a:lnSpc>
              <a:spcBef>
                <a:spcPts val="500"/>
              </a:spcBef>
              <a:buFont typeface="Arial" panose="020B0604020202020204" pitchFamily="34" charset="0"/>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a:solidFill>
                  <a:schemeClr val="tx2"/>
                </a:solidFill>
              </a:rPr>
              <a:t>Reach out to our Customer Support Team with Questions or Concerns.</a:t>
            </a:r>
            <a:br>
              <a:rPr lang="en-US" sz="2400">
                <a:solidFill>
                  <a:schemeClr val="tx2"/>
                </a:solidFill>
              </a:rPr>
            </a:br>
            <a:br>
              <a:rPr lang="en-US" sz="2400">
                <a:solidFill>
                  <a:schemeClr val="tx2"/>
                </a:solidFill>
              </a:rPr>
            </a:br>
            <a:r>
              <a:rPr lang="en-US" sz="2400">
                <a:solidFill>
                  <a:schemeClr val="tx2"/>
                </a:solidFill>
                <a:latin typeface="Graphik"/>
              </a:rPr>
              <a:t>Weekdays 7am – 7pm CST via chat or through email: </a:t>
            </a:r>
            <a:r>
              <a:rPr lang="en-US" sz="2400">
                <a:solidFill>
                  <a:schemeClr val="tx2"/>
                </a:solidFill>
                <a:latin typeface="Graphik"/>
                <a:hlinkClick r:id="rId3">
                  <a:extLst>
                    <a:ext uri="{A12FA001-AC4F-418D-AE19-62706E023703}">
                      <ahyp:hlinkClr xmlns:ahyp="http://schemas.microsoft.com/office/drawing/2018/hyperlinkcolor" val="tx"/>
                    </a:ext>
                  </a:extLst>
                </a:hlinkClick>
              </a:rPr>
              <a:t>apricot@bonterratech.com</a:t>
            </a:r>
            <a:br>
              <a:rPr lang="en-US" sz="2400"/>
            </a:br>
            <a:br>
              <a:rPr lang="en-US" sz="2400"/>
            </a:br>
            <a:endParaRPr lang="en-US" sz="2400"/>
          </a:p>
        </p:txBody>
      </p:sp>
      <p:pic>
        <p:nvPicPr>
          <p:cNvPr id="7" name="Picture 6">
            <a:extLst>
              <a:ext uri="{FF2B5EF4-FFF2-40B4-BE49-F238E27FC236}">
                <a16:creationId xmlns:a16="http://schemas.microsoft.com/office/drawing/2014/main" id="{CF29999A-E527-1C8E-B5ED-75D6B29E4478}"/>
              </a:ext>
            </a:extLst>
          </p:cNvPr>
          <p:cNvPicPr>
            <a:picLocks noChangeAspect="1"/>
          </p:cNvPicPr>
          <p:nvPr/>
        </p:nvPicPr>
        <p:blipFill>
          <a:blip r:embed="rId4"/>
          <a:stretch>
            <a:fillRect/>
          </a:stretch>
        </p:blipFill>
        <p:spPr>
          <a:xfrm>
            <a:off x="4044" y="0"/>
            <a:ext cx="107366" cy="6858000"/>
          </a:xfrm>
          <a:prstGeom prst="rect">
            <a:avLst/>
          </a:prstGeom>
        </p:spPr>
      </p:pic>
      <p:pic>
        <p:nvPicPr>
          <p:cNvPr id="8" name="Picture 7" descr="A screenshot of a phone&#10;&#10;Description automatically generated">
            <a:extLst>
              <a:ext uri="{FF2B5EF4-FFF2-40B4-BE49-F238E27FC236}">
                <a16:creationId xmlns:a16="http://schemas.microsoft.com/office/drawing/2014/main" id="{5CB9401B-C152-91CD-047A-060309B8A9C3}"/>
              </a:ext>
            </a:extLst>
          </p:cNvPr>
          <p:cNvPicPr>
            <a:picLocks noChangeAspect="1"/>
          </p:cNvPicPr>
          <p:nvPr/>
        </p:nvPicPr>
        <p:blipFill>
          <a:blip r:embed="rId5"/>
          <a:stretch>
            <a:fillRect/>
          </a:stretch>
        </p:blipFill>
        <p:spPr>
          <a:xfrm>
            <a:off x="8059953" y="429552"/>
            <a:ext cx="3126368" cy="6010442"/>
          </a:xfrm>
          <a:prstGeom prst="rect">
            <a:avLst/>
          </a:prstGeom>
        </p:spPr>
      </p:pic>
    </p:spTree>
    <p:extLst>
      <p:ext uri="{BB962C8B-B14F-4D97-AF65-F5344CB8AC3E}">
        <p14:creationId xmlns:p14="http://schemas.microsoft.com/office/powerpoint/2010/main" val="41550873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7AAD8-80A8-ED5E-D3F8-E27BFDB82855}"/>
              </a:ext>
            </a:extLst>
          </p:cNvPr>
          <p:cNvSpPr>
            <a:spLocks noGrp="1"/>
          </p:cNvSpPr>
          <p:nvPr>
            <p:ph type="ctrTitle"/>
          </p:nvPr>
        </p:nvSpPr>
        <p:spPr>
          <a:xfrm>
            <a:off x="992187" y="2148840"/>
            <a:ext cx="10207625" cy="2560320"/>
          </a:xfrm>
        </p:spPr>
        <p:txBody>
          <a:bodyPr/>
          <a:lstStyle/>
          <a:p>
            <a:pPr algn="ctr"/>
            <a:r>
              <a:rPr lang="en-US" dirty="0"/>
              <a:t>Thank you! </a:t>
            </a:r>
            <a:br>
              <a:rPr lang="en-US" dirty="0"/>
            </a:br>
            <a:r>
              <a:rPr lang="en-US" dirty="0"/>
              <a:t>Good luck on your exam!</a:t>
            </a:r>
          </a:p>
        </p:txBody>
      </p:sp>
    </p:spTree>
    <p:extLst>
      <p:ext uri="{BB962C8B-B14F-4D97-AF65-F5344CB8AC3E}">
        <p14:creationId xmlns:p14="http://schemas.microsoft.com/office/powerpoint/2010/main" val="32866809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EA2E7-36CD-68E3-5234-51E9D94E490C}"/>
              </a:ext>
            </a:extLst>
          </p:cNvPr>
          <p:cNvSpPr>
            <a:spLocks noGrp="1"/>
          </p:cNvSpPr>
          <p:nvPr>
            <p:ph type="ctrTitle"/>
          </p:nvPr>
        </p:nvSpPr>
        <p:spPr>
          <a:xfrm>
            <a:off x="1492380" y="2148840"/>
            <a:ext cx="9207239" cy="2560320"/>
          </a:xfrm>
        </p:spPr>
        <p:txBody>
          <a:bodyPr/>
          <a:lstStyle/>
          <a:p>
            <a:pPr algn="ctr"/>
            <a:r>
              <a:rPr lang="en-US" dirty="0"/>
              <a:t>Exam Overview &amp; Expectations</a:t>
            </a:r>
          </a:p>
        </p:txBody>
      </p:sp>
    </p:spTree>
    <p:extLst>
      <p:ext uri="{BB962C8B-B14F-4D97-AF65-F5344CB8AC3E}">
        <p14:creationId xmlns:p14="http://schemas.microsoft.com/office/powerpoint/2010/main" val="2007058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83E5-C155-866A-75FA-D1F1C2FACAA0}"/>
              </a:ext>
            </a:extLst>
          </p:cNvPr>
          <p:cNvSpPr>
            <a:spLocks noGrp="1"/>
          </p:cNvSpPr>
          <p:nvPr>
            <p:ph type="title"/>
          </p:nvPr>
        </p:nvSpPr>
        <p:spPr/>
        <p:txBody>
          <a:bodyPr/>
          <a:lstStyle/>
          <a:p>
            <a:r>
              <a:rPr lang="en-US" dirty="0">
                <a:solidFill>
                  <a:schemeClr val="accent1"/>
                </a:solidFill>
              </a:rPr>
              <a:t>Exam Overview</a:t>
            </a:r>
          </a:p>
        </p:txBody>
      </p:sp>
      <p:graphicFrame>
        <p:nvGraphicFramePr>
          <p:cNvPr id="5" name="Diagram 4">
            <a:extLst>
              <a:ext uri="{FF2B5EF4-FFF2-40B4-BE49-F238E27FC236}">
                <a16:creationId xmlns:a16="http://schemas.microsoft.com/office/drawing/2014/main" id="{1914FCE7-CB11-63D6-8631-C94D3165DA34}"/>
              </a:ext>
            </a:extLst>
          </p:cNvPr>
          <p:cNvGraphicFramePr/>
          <p:nvPr>
            <p:extLst>
              <p:ext uri="{D42A27DB-BD31-4B8C-83A1-F6EECF244321}">
                <p14:modId xmlns:p14="http://schemas.microsoft.com/office/powerpoint/2010/main" val="2772457793"/>
              </p:ext>
            </p:extLst>
          </p:nvPr>
        </p:nvGraphicFramePr>
        <p:xfrm>
          <a:off x="457198" y="1443625"/>
          <a:ext cx="11101190" cy="39707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57127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4F8D67E9-C0E8-490D-B52D-B1549778361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9E28F7D2-AE95-48C4-8A51-253229EF6ECF}"/>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graphicEl>
                                              <a:dgm id="{50240BFA-9EB0-4A53-9B2C-DCB76108D80B}"/>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graphicEl>
                                              <a:dgm id="{53E1BE71-40BD-4A3F-9926-AA7276D66C81}"/>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graphicEl>
                                              <a:dgm id="{5F0495F4-71DB-44EB-B856-184C771DB28F}"/>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1D07A174-3848-4B71-B197-F47EB96CF2C1}"/>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306AA157-7C45-4F49-AED5-799FB004B6FA}"/>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graphicEl>
                                              <a:dgm id="{A417F3F0-EDB1-426B-8C5F-2DC0D46D7350}"/>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graphicEl>
                                              <a:dgm id="{E1DD40D3-EE1A-4506-9880-246427A42475}"/>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graphicEl>
                                              <a:dgm id="{2E75B01D-661C-41C6-928E-C79B4A36D7F9}"/>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graphicEl>
                                              <a:dgm id="{A6020944-4F52-4817-8026-F1BAAEE076BA}"/>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graphicEl>
                                              <a:dgm id="{3B8E1E2D-D8D7-4704-B25F-DC61AD70E176}"/>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
                                            <p:graphicEl>
                                              <a:dgm id="{A51B10D6-1405-46E9-97F8-B3FE5DED1A71}"/>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
                                            <p:graphicEl>
                                              <a:dgm id="{A789AA48-65F8-401E-BFB6-0DA8A732C5F8}"/>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
                                            <p:graphicEl>
                                              <a:dgm id="{D971018C-9A5C-44F3-A685-63CB3FFC6B02}"/>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
                                            <p:graphicEl>
                                              <a:dgm id="{7331E592-2E3C-4685-921F-F672935C65F6}"/>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
                                            <p:graphicEl>
                                              <a:dgm id="{8674E9DD-96E6-4D64-A1D9-39FAC3C2FC96}"/>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
                                            <p:graphicEl>
                                              <a:dgm id="{CE3A6EA1-0FD6-4C89-8016-1A418D78570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FD1BC-81A4-6A14-9EAF-53A240A7704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E3E9E3-DDED-C391-C602-159710FEA582}"/>
              </a:ext>
            </a:extLst>
          </p:cNvPr>
          <p:cNvSpPr>
            <a:spLocks noGrp="1"/>
          </p:cNvSpPr>
          <p:nvPr>
            <p:ph type="title"/>
          </p:nvPr>
        </p:nvSpPr>
        <p:spPr/>
        <p:txBody>
          <a:bodyPr/>
          <a:lstStyle/>
          <a:p>
            <a:r>
              <a:rPr lang="en-US" dirty="0">
                <a:solidFill>
                  <a:schemeClr val="accent1"/>
                </a:solidFill>
              </a:rPr>
              <a:t>Exam Expectations</a:t>
            </a:r>
          </a:p>
        </p:txBody>
      </p:sp>
      <p:sp>
        <p:nvSpPr>
          <p:cNvPr id="3" name="Content Placeholder 2">
            <a:extLst>
              <a:ext uri="{FF2B5EF4-FFF2-40B4-BE49-F238E27FC236}">
                <a16:creationId xmlns:a16="http://schemas.microsoft.com/office/drawing/2014/main" id="{452C3675-6779-C7B2-97DA-5F495CF0BA21}"/>
              </a:ext>
            </a:extLst>
          </p:cNvPr>
          <p:cNvSpPr>
            <a:spLocks noGrp="1"/>
          </p:cNvSpPr>
          <p:nvPr>
            <p:ph idx="1"/>
          </p:nvPr>
        </p:nvSpPr>
        <p:spPr>
          <a:xfrm>
            <a:off x="457202" y="1457925"/>
            <a:ext cx="5530240" cy="2111993"/>
          </a:xfrm>
        </p:spPr>
        <p:txBody>
          <a:bodyPr/>
          <a:lstStyle/>
          <a:p>
            <a:pPr marL="285750" indent="-285750">
              <a:buFont typeface="Arial" panose="020B0604020202020204" pitchFamily="34" charset="0"/>
              <a:buChar char="•"/>
            </a:pPr>
            <a:r>
              <a:rPr lang="en-US" dirty="0"/>
              <a:t>Digital Badge awarded upon passing score.</a:t>
            </a:r>
          </a:p>
          <a:p>
            <a:pPr marL="285750" indent="-285750">
              <a:buFont typeface="Arial" panose="020B0604020202020204" pitchFamily="34" charset="0"/>
              <a:buChar char="•"/>
            </a:pPr>
            <a:r>
              <a:rPr lang="en-US" dirty="0"/>
              <a:t>Software Certification is valid for 6 months.</a:t>
            </a:r>
          </a:p>
          <a:p>
            <a:pPr marL="285750" indent="-285750">
              <a:buFont typeface="Arial" panose="020B0604020202020204" pitchFamily="34" charset="0"/>
              <a:buChar char="•"/>
            </a:pPr>
            <a:r>
              <a:rPr lang="en-US" dirty="0"/>
              <a:t>Must take bi-annual recertification quiz to maintain.</a:t>
            </a:r>
          </a:p>
          <a:p>
            <a:pPr marL="285750" indent="-285750">
              <a:buFont typeface="Arial" panose="020B0604020202020204" pitchFamily="34" charset="0"/>
              <a:buChar char="•"/>
            </a:pPr>
            <a:r>
              <a:rPr lang="en-US" dirty="0"/>
              <a:t>Quizzes will be 5-10 questions on recent releases.</a:t>
            </a:r>
          </a:p>
          <a:p>
            <a:pPr marL="285750" indent="-285750">
              <a:buFont typeface="Arial" panose="020B0604020202020204" pitchFamily="34" charset="0"/>
              <a:buChar char="•"/>
            </a:pPr>
            <a:r>
              <a:rPr lang="en-US" dirty="0"/>
              <a:t>Monthly new release webinars for ongoing training.</a:t>
            </a:r>
          </a:p>
          <a:p>
            <a:pPr marL="285750" indent="-285750">
              <a:buFont typeface="Arial" panose="020B0604020202020204" pitchFamily="34" charset="0"/>
              <a:buChar char="•"/>
            </a:pPr>
            <a:endParaRPr lang="en-US" dirty="0"/>
          </a:p>
          <a:p>
            <a:endParaRPr lang="en-US" dirty="0"/>
          </a:p>
        </p:txBody>
      </p:sp>
      <p:pic>
        <p:nvPicPr>
          <p:cNvPr id="6" name="Picture 5" descr="A close-up of a person's hands on a computer&#10;&#10;Description automatically generated">
            <a:extLst>
              <a:ext uri="{FF2B5EF4-FFF2-40B4-BE49-F238E27FC236}">
                <a16:creationId xmlns:a16="http://schemas.microsoft.com/office/drawing/2014/main" id="{99C4F672-7636-2201-334A-CC488B331B55}"/>
              </a:ext>
            </a:extLst>
          </p:cNvPr>
          <p:cNvPicPr>
            <a:picLocks noChangeAspect="1"/>
          </p:cNvPicPr>
          <p:nvPr/>
        </p:nvPicPr>
        <p:blipFill>
          <a:blip r:embed="rId3">
            <a:extLst>
              <a:ext uri="{28A0092B-C50C-407E-A947-70E740481C1C}">
                <a14:useLocalDpi xmlns:a14="http://schemas.microsoft.com/office/drawing/2010/main" val="0"/>
              </a:ext>
            </a:extLst>
          </a:blip>
          <a:srcRect r="11656"/>
          <a:stretch/>
        </p:blipFill>
        <p:spPr>
          <a:xfrm>
            <a:off x="7310987" y="696276"/>
            <a:ext cx="4881014" cy="5525025"/>
          </a:xfrm>
          <a:prstGeom prst="rect">
            <a:avLst/>
          </a:prstGeom>
        </p:spPr>
      </p:pic>
      <p:sp>
        <p:nvSpPr>
          <p:cNvPr id="8" name="TextBox 7">
            <a:extLst>
              <a:ext uri="{FF2B5EF4-FFF2-40B4-BE49-F238E27FC236}">
                <a16:creationId xmlns:a16="http://schemas.microsoft.com/office/drawing/2014/main" id="{8BEA77B5-77CA-4FC2-3A4E-E69D4A9C9AA2}"/>
              </a:ext>
            </a:extLst>
          </p:cNvPr>
          <p:cNvSpPr txBox="1"/>
          <p:nvPr/>
        </p:nvSpPr>
        <p:spPr>
          <a:xfrm>
            <a:off x="935269" y="3975463"/>
            <a:ext cx="4574106" cy="646331"/>
          </a:xfrm>
          <a:prstGeom prst="rect">
            <a:avLst/>
          </a:prstGeom>
          <a:noFill/>
        </p:spPr>
        <p:txBody>
          <a:bodyPr wrap="square">
            <a:spAutoFit/>
          </a:bodyPr>
          <a:lstStyle/>
          <a:p>
            <a:pPr algn="ctr"/>
            <a:r>
              <a:rPr lang="en-US" b="1" dirty="0">
                <a:hlinkClick r:id="rId4"/>
              </a:rPr>
              <a:t>Impact Management Monthly Newsletter &amp; Product Updates Webinar</a:t>
            </a:r>
            <a:endParaRPr lang="en-US" b="1" dirty="0"/>
          </a:p>
        </p:txBody>
      </p:sp>
    </p:spTree>
    <p:extLst>
      <p:ext uri="{BB962C8B-B14F-4D97-AF65-F5344CB8AC3E}">
        <p14:creationId xmlns:p14="http://schemas.microsoft.com/office/powerpoint/2010/main" val="1802050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A5B1AE-E310-927D-4FDD-8BBF93FB61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1F2574-7036-79D9-3F7F-F7DC105E9AFD}"/>
              </a:ext>
            </a:extLst>
          </p:cNvPr>
          <p:cNvSpPr>
            <a:spLocks noGrp="1"/>
          </p:cNvSpPr>
          <p:nvPr>
            <p:ph type="ctrTitle"/>
          </p:nvPr>
        </p:nvSpPr>
        <p:spPr>
          <a:xfrm>
            <a:off x="1492380" y="2148840"/>
            <a:ext cx="9207239" cy="2560320"/>
          </a:xfrm>
        </p:spPr>
        <p:txBody>
          <a:bodyPr/>
          <a:lstStyle/>
          <a:p>
            <a:pPr algn="ctr"/>
            <a:r>
              <a:rPr lang="en-US" dirty="0"/>
              <a:t>Competency Categories</a:t>
            </a:r>
          </a:p>
        </p:txBody>
      </p:sp>
    </p:spTree>
    <p:extLst>
      <p:ext uri="{BB962C8B-B14F-4D97-AF65-F5344CB8AC3E}">
        <p14:creationId xmlns:p14="http://schemas.microsoft.com/office/powerpoint/2010/main" val="29831940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9B775-D615-6DE7-C51C-635AF742D0E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33809-EBE0-6782-F008-07CF306CFCB4}"/>
              </a:ext>
            </a:extLst>
          </p:cNvPr>
          <p:cNvSpPr>
            <a:spLocks noGrp="1"/>
          </p:cNvSpPr>
          <p:nvPr>
            <p:ph type="title"/>
          </p:nvPr>
        </p:nvSpPr>
        <p:spPr/>
        <p:txBody>
          <a:bodyPr/>
          <a:lstStyle/>
          <a:p>
            <a:r>
              <a:rPr lang="en-US" dirty="0">
                <a:solidFill>
                  <a:schemeClr val="accent1"/>
                </a:solidFill>
              </a:rPr>
              <a:t>Competency Categories</a:t>
            </a:r>
          </a:p>
        </p:txBody>
      </p:sp>
      <p:graphicFrame>
        <p:nvGraphicFramePr>
          <p:cNvPr id="5" name="Content Placeholder 4">
            <a:extLst>
              <a:ext uri="{FF2B5EF4-FFF2-40B4-BE49-F238E27FC236}">
                <a16:creationId xmlns:a16="http://schemas.microsoft.com/office/drawing/2014/main" id="{74902F51-8A47-5956-2A70-C7D206EB64ED}"/>
              </a:ext>
            </a:extLst>
          </p:cNvPr>
          <p:cNvGraphicFramePr>
            <a:graphicFrameLocks noGrp="1"/>
          </p:cNvGraphicFramePr>
          <p:nvPr>
            <p:ph idx="1"/>
            <p:extLst>
              <p:ext uri="{D42A27DB-BD31-4B8C-83A1-F6EECF244321}">
                <p14:modId xmlns:p14="http://schemas.microsoft.com/office/powerpoint/2010/main" val="329947366"/>
              </p:ext>
            </p:extLst>
          </p:nvPr>
        </p:nvGraphicFramePr>
        <p:xfrm>
          <a:off x="457198" y="1228725"/>
          <a:ext cx="11277600" cy="4986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39839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FDA99-4345-64A1-2C02-0A91945B3903}"/>
              </a:ext>
            </a:extLst>
          </p:cNvPr>
          <p:cNvSpPr>
            <a:spLocks noGrp="1"/>
          </p:cNvSpPr>
          <p:nvPr>
            <p:ph type="title"/>
          </p:nvPr>
        </p:nvSpPr>
        <p:spPr>
          <a:xfrm>
            <a:off x="1043417" y="406049"/>
            <a:ext cx="10691385" cy="1051876"/>
          </a:xfrm>
        </p:spPr>
        <p:txBody>
          <a:bodyPr/>
          <a:lstStyle/>
          <a:p>
            <a:r>
              <a:rPr lang="en-US" dirty="0">
                <a:solidFill>
                  <a:schemeClr val="accent1"/>
                </a:solidFill>
              </a:rPr>
              <a:t>Admin Role</a:t>
            </a:r>
          </a:p>
        </p:txBody>
      </p:sp>
      <p:graphicFrame>
        <p:nvGraphicFramePr>
          <p:cNvPr id="10" name="Diagram 9">
            <a:extLst>
              <a:ext uri="{FF2B5EF4-FFF2-40B4-BE49-F238E27FC236}">
                <a16:creationId xmlns:a16="http://schemas.microsoft.com/office/drawing/2014/main" id="{F9E6E818-C7EC-10EA-63B2-E17425A8F125}"/>
              </a:ext>
            </a:extLst>
          </p:cNvPr>
          <p:cNvGraphicFramePr/>
          <p:nvPr>
            <p:extLst>
              <p:ext uri="{D42A27DB-BD31-4B8C-83A1-F6EECF244321}">
                <p14:modId xmlns:p14="http://schemas.microsoft.com/office/powerpoint/2010/main" val="1112766361"/>
              </p:ext>
            </p:extLst>
          </p:nvPr>
        </p:nvGraphicFramePr>
        <p:xfrm>
          <a:off x="457199" y="1917131"/>
          <a:ext cx="11277601" cy="764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a:extLst>
              <a:ext uri="{FF2B5EF4-FFF2-40B4-BE49-F238E27FC236}">
                <a16:creationId xmlns:a16="http://schemas.microsoft.com/office/drawing/2014/main" id="{8870F49C-4F90-9DC0-2701-7C0EFD2332CC}"/>
              </a:ext>
            </a:extLst>
          </p:cNvPr>
          <p:cNvSpPr txBox="1"/>
          <p:nvPr/>
        </p:nvSpPr>
        <p:spPr>
          <a:xfrm>
            <a:off x="901873" y="2868459"/>
            <a:ext cx="2083489" cy="2492680"/>
          </a:xfrm>
          <a:prstGeom prst="rect">
            <a:avLst/>
          </a:prstGeom>
          <a:noFill/>
        </p:spPr>
        <p:txBody>
          <a:bodyPr wrap="square" lIns="0" tIns="0" rIns="0" bIns="0" rtlCol="0">
            <a:noAutofit/>
          </a:bodyPr>
          <a:lstStyle/>
          <a:p>
            <a:pPr marL="285750" indent="-285750" algn="l">
              <a:spcBef>
                <a:spcPts val="1200"/>
              </a:spcBef>
              <a:buFont typeface="Arial" panose="020B0604020202020204" pitchFamily="34" charset="0"/>
              <a:buChar char="•"/>
            </a:pPr>
            <a:r>
              <a:rPr lang="en-US" dirty="0"/>
              <a:t>Initial Design &amp; Configuration</a:t>
            </a:r>
          </a:p>
          <a:p>
            <a:pPr marL="285750" indent="-285750" algn="l">
              <a:spcBef>
                <a:spcPts val="1200"/>
              </a:spcBef>
              <a:buFont typeface="Arial" panose="020B0604020202020204" pitchFamily="34" charset="0"/>
              <a:buChar char="•"/>
            </a:pPr>
            <a:r>
              <a:rPr lang="en-US" dirty="0"/>
              <a:t>Expert in Org’s Use &amp; Needs</a:t>
            </a:r>
          </a:p>
          <a:p>
            <a:pPr marL="285750" indent="-285750" algn="l">
              <a:spcBef>
                <a:spcPts val="1200"/>
              </a:spcBef>
              <a:buFont typeface="Arial" panose="020B0604020202020204" pitchFamily="34" charset="0"/>
              <a:buChar char="•"/>
            </a:pPr>
            <a:r>
              <a:rPr lang="en-US" dirty="0"/>
              <a:t>Build Forms, Reports, Roles, Bulletins, etc.</a:t>
            </a:r>
          </a:p>
        </p:txBody>
      </p:sp>
      <p:sp>
        <p:nvSpPr>
          <p:cNvPr id="12" name="TextBox 11">
            <a:extLst>
              <a:ext uri="{FF2B5EF4-FFF2-40B4-BE49-F238E27FC236}">
                <a16:creationId xmlns:a16="http://schemas.microsoft.com/office/drawing/2014/main" id="{3A39C4B8-7737-8618-DE29-467CCEE602B1}"/>
              </a:ext>
            </a:extLst>
          </p:cNvPr>
          <p:cNvSpPr txBox="1"/>
          <p:nvPr/>
        </p:nvSpPr>
        <p:spPr>
          <a:xfrm>
            <a:off x="3418228" y="2868459"/>
            <a:ext cx="2569212" cy="2317315"/>
          </a:xfrm>
          <a:prstGeom prst="rect">
            <a:avLst/>
          </a:prstGeom>
          <a:noFill/>
        </p:spPr>
        <p:txBody>
          <a:bodyPr wrap="square" lIns="0" tIns="0" rIns="0" bIns="0" rtlCol="0">
            <a:noAutofit/>
          </a:bodyPr>
          <a:lstStyle/>
          <a:p>
            <a:pPr marL="285750" indent="-285750" algn="l">
              <a:spcBef>
                <a:spcPts val="1200"/>
              </a:spcBef>
              <a:buFont typeface="Arial" panose="020B0604020202020204" pitchFamily="34" charset="0"/>
              <a:buChar char="•"/>
            </a:pPr>
            <a:r>
              <a:rPr lang="en-US" dirty="0"/>
              <a:t>Launch Prep &amp; Change Management</a:t>
            </a:r>
          </a:p>
          <a:p>
            <a:pPr marL="285750" indent="-285750" algn="l">
              <a:spcBef>
                <a:spcPts val="1200"/>
              </a:spcBef>
              <a:buFont typeface="Arial" panose="020B0604020202020204" pitchFamily="34" charset="0"/>
              <a:buChar char="•"/>
            </a:pPr>
            <a:r>
              <a:rPr lang="en-US" dirty="0"/>
              <a:t>New User Training</a:t>
            </a:r>
          </a:p>
          <a:p>
            <a:pPr marL="285750" indent="-285750" algn="l">
              <a:spcBef>
                <a:spcPts val="1200"/>
              </a:spcBef>
              <a:buFont typeface="Arial" panose="020B0604020202020204" pitchFamily="34" charset="0"/>
              <a:buChar char="•"/>
            </a:pPr>
            <a:r>
              <a:rPr lang="en-US" dirty="0"/>
              <a:t>Respond to &amp; Adjust for Feedback</a:t>
            </a:r>
          </a:p>
        </p:txBody>
      </p:sp>
      <p:sp>
        <p:nvSpPr>
          <p:cNvPr id="13" name="TextBox 12">
            <a:extLst>
              <a:ext uri="{FF2B5EF4-FFF2-40B4-BE49-F238E27FC236}">
                <a16:creationId xmlns:a16="http://schemas.microsoft.com/office/drawing/2014/main" id="{2E0E997E-A415-BCE2-AC38-2437FA787F75}"/>
              </a:ext>
            </a:extLst>
          </p:cNvPr>
          <p:cNvSpPr txBox="1"/>
          <p:nvPr/>
        </p:nvSpPr>
        <p:spPr>
          <a:xfrm>
            <a:off x="6420306" y="2868459"/>
            <a:ext cx="4765435" cy="2317315"/>
          </a:xfrm>
          <a:prstGeom prst="rect">
            <a:avLst/>
          </a:prstGeom>
          <a:noFill/>
        </p:spPr>
        <p:txBody>
          <a:bodyPr wrap="square" lIns="0" tIns="0" rIns="0" bIns="0" rtlCol="0">
            <a:noAutofit/>
          </a:bodyPr>
          <a:lstStyle/>
          <a:p>
            <a:pPr marL="285750" indent="-285750" algn="l">
              <a:spcBef>
                <a:spcPts val="1200"/>
              </a:spcBef>
              <a:buFont typeface="Arial" panose="020B0604020202020204" pitchFamily="34" charset="0"/>
              <a:buChar char="•"/>
            </a:pPr>
            <a:r>
              <a:rPr lang="en-US" dirty="0"/>
              <a:t>User Support &amp; Oversight</a:t>
            </a:r>
          </a:p>
          <a:p>
            <a:pPr marL="285750" indent="-285750" algn="l">
              <a:spcBef>
                <a:spcPts val="1200"/>
              </a:spcBef>
              <a:buFont typeface="Arial" panose="020B0604020202020204" pitchFamily="34" charset="0"/>
              <a:buChar char="•"/>
            </a:pPr>
            <a:r>
              <a:rPr lang="en-US" dirty="0"/>
              <a:t>Customer Support Liaison</a:t>
            </a:r>
          </a:p>
          <a:p>
            <a:pPr marL="285750" indent="-285750" algn="l">
              <a:spcBef>
                <a:spcPts val="1200"/>
              </a:spcBef>
              <a:buFont typeface="Arial" panose="020B0604020202020204" pitchFamily="34" charset="0"/>
              <a:buChar char="•"/>
            </a:pPr>
            <a:r>
              <a:rPr lang="en-US" dirty="0"/>
              <a:t>Data Quality Assurance</a:t>
            </a:r>
          </a:p>
          <a:p>
            <a:pPr marL="285750" indent="-285750" algn="l">
              <a:spcBef>
                <a:spcPts val="1200"/>
              </a:spcBef>
              <a:buFont typeface="Arial" panose="020B0604020202020204" pitchFamily="34" charset="0"/>
              <a:buChar char="•"/>
            </a:pPr>
            <a:r>
              <a:rPr lang="en-US" dirty="0"/>
              <a:t>Training for User Transitions</a:t>
            </a:r>
          </a:p>
          <a:p>
            <a:pPr marL="285750" indent="-285750" algn="l">
              <a:spcBef>
                <a:spcPts val="1200"/>
              </a:spcBef>
              <a:buFont typeface="Arial" panose="020B0604020202020204" pitchFamily="34" charset="0"/>
              <a:buChar char="•"/>
            </a:pPr>
            <a:r>
              <a:rPr lang="en-US" dirty="0"/>
              <a:t>Configuration Adjustments</a:t>
            </a:r>
          </a:p>
        </p:txBody>
      </p:sp>
      <p:sp>
        <p:nvSpPr>
          <p:cNvPr id="14" name="Rectangle 13" descr="User with solid fill">
            <a:extLst>
              <a:ext uri="{FF2B5EF4-FFF2-40B4-BE49-F238E27FC236}">
                <a16:creationId xmlns:a16="http://schemas.microsoft.com/office/drawing/2014/main" id="{250BB3D3-EC14-5FA7-129D-99DF9A7F4DE4}"/>
              </a:ext>
            </a:extLst>
          </p:cNvPr>
          <p:cNvSpPr/>
          <p:nvPr/>
        </p:nvSpPr>
        <p:spPr>
          <a:xfrm>
            <a:off x="37577" y="91984"/>
            <a:ext cx="1005840" cy="1097280"/>
          </a:xfrm>
          <a:prstGeom prst="rect">
            <a:avLst/>
          </a:prstGeom>
          <a:blipFill>
            <a:blip r:embed="rId8">
              <a:extLst>
                <a:ext uri="{96DAC541-7B7A-43D3-8B79-37D633B846F1}">
                  <asvg:svgBlip xmlns:asvg="http://schemas.microsoft.com/office/drawing/2016/SVG/main" r:embed="rId9"/>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3548564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nterraTheme">
  <a:themeElements>
    <a:clrScheme name="Custom 3">
      <a:dk1>
        <a:srgbClr val="37135F"/>
      </a:dk1>
      <a:lt1>
        <a:srgbClr val="FFFFFF"/>
      </a:lt1>
      <a:dk2>
        <a:srgbClr val="C7D0FE"/>
      </a:dk2>
      <a:lt2>
        <a:srgbClr val="37135F"/>
      </a:lt2>
      <a:accent1>
        <a:srgbClr val="381360"/>
      </a:accent1>
      <a:accent2>
        <a:srgbClr val="7583FF"/>
      </a:accent2>
      <a:accent3>
        <a:srgbClr val="99A7FF"/>
      </a:accent3>
      <a:accent4>
        <a:srgbClr val="C7D0FE"/>
      </a:accent4>
      <a:accent5>
        <a:srgbClr val="F2342F"/>
      </a:accent5>
      <a:accent6>
        <a:srgbClr val="FFB6B3"/>
      </a:accent6>
      <a:hlink>
        <a:srgbClr val="7583FE"/>
      </a:hlink>
      <a:folHlink>
        <a:srgbClr val="997500"/>
      </a:folHlink>
    </a:clrScheme>
    <a:fontScheme name="Bonterra">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smtClean="0"/>
        </a:defPPr>
      </a:lstStyle>
    </a:txDef>
  </a:objectDefaults>
  <a:extraClrSchemeLst/>
  <a:custClrLst>
    <a:custClr name="Indigo">
      <a:srgbClr val="381360"/>
    </a:custClr>
    <a:custClr name="Periwinkle">
      <a:srgbClr val="7583FF"/>
    </a:custClr>
    <a:custClr name="Medium Periwinkle">
      <a:srgbClr val="99A7FF"/>
    </a:custClr>
    <a:custClr name="Light Periwinkle">
      <a:srgbClr val="C7D0FF"/>
    </a:custClr>
    <a:custClr name="Dark Yellow">
      <a:srgbClr val="A07A00"/>
    </a:custClr>
    <a:custClr name="Yellow">
      <a:srgbClr val="D9BA16"/>
    </a:custClr>
    <a:custClr name="Medium Yellow">
      <a:srgbClr val="FAE748"/>
    </a:custClr>
    <a:custClr name="Manilla">
      <a:srgbClr val="FFF8DE"/>
    </a:custClr>
    <a:custClr name="Custom Color">
      <a:srgbClr val="FFFFFF"/>
    </a:custClr>
    <a:custClr name="Custom Color 1">
      <a:srgbClr val="FFFFFF"/>
    </a:custClr>
    <a:custClr name="Dark Red">
      <a:srgbClr val="8C1B1B"/>
    </a:custClr>
    <a:custClr name="Red">
      <a:srgbClr val="F2342F"/>
    </a:custClr>
    <a:custClr name="Medium Red">
      <a:srgbClr val="FFB6B3"/>
    </a:custClr>
    <a:custClr name="Light Red">
      <a:srgbClr val="FFEAEA"/>
    </a:custClr>
    <a:custClr name="Dark Green">
      <a:srgbClr val="184D38"/>
    </a:custClr>
    <a:custClr name="Green">
      <a:srgbClr val="54C477"/>
    </a:custClr>
    <a:custClr name="Medium Green">
      <a:srgbClr val="97E6B0"/>
    </a:custClr>
    <a:custClr name="Light Green">
      <a:srgbClr val="E1F8E7"/>
    </a:custClr>
    <a:custClr name="Custom Color 2">
      <a:srgbClr val="FFFFFF"/>
    </a:custClr>
    <a:custClr name="Custom Color 3">
      <a:srgbClr val="FFFFFF"/>
    </a:custClr>
  </a:custClrLst>
  <a:extLst>
    <a:ext uri="{05A4C25C-085E-4340-85A3-A5531E510DB2}">
      <thm15:themeFamily xmlns:thm15="http://schemas.microsoft.com/office/thememl/2012/main" name="BonterraTheme" id="{F60FAC5D-492C-43DE-99F2-0A6FC2C9ED62}" vid="{684B5A3D-2A82-4814-BEBA-9C79AC14F8C5}"/>
    </a:ext>
  </a:extLst>
</a:theme>
</file>

<file path=ppt/theme/theme2.xml><?xml version="1.0" encoding="utf-8"?>
<a:theme xmlns:a="http://schemas.openxmlformats.org/drawingml/2006/main" name="TrainingWebinars">
  <a:themeElements>
    <a:clrScheme name="Office">
      <a:dk1>
        <a:srgbClr val="14022D"/>
      </a:dk1>
      <a:lt1>
        <a:srgbClr val="FFFFFF"/>
      </a:lt1>
      <a:dk2>
        <a:srgbClr val="381360"/>
      </a:dk2>
      <a:lt2>
        <a:srgbClr val="5D6172"/>
      </a:lt2>
      <a:accent1>
        <a:srgbClr val="381360"/>
      </a:accent1>
      <a:accent2>
        <a:srgbClr val="7583FF"/>
      </a:accent2>
      <a:accent3>
        <a:srgbClr val="99A7FF"/>
      </a:accent3>
      <a:accent4>
        <a:srgbClr val="8C1B1B"/>
      </a:accent4>
      <a:accent5>
        <a:srgbClr val="F2342F"/>
      </a:accent5>
      <a:accent6>
        <a:srgbClr val="FFB6B3"/>
      </a:accent6>
      <a:hlink>
        <a:srgbClr val="0563C1"/>
      </a:hlink>
      <a:folHlink>
        <a:srgbClr val="954F72"/>
      </a:folHlink>
    </a:clrScheme>
    <a:fontScheme name="Bonterra">
      <a:majorFont>
        <a:latin typeface="Cambr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smtClean="0"/>
        </a:defPPr>
      </a:lstStyle>
    </a:txDef>
  </a:objectDefaults>
  <a:extraClrSchemeLst/>
  <a:custClrLst>
    <a:custClr name="Indigo">
      <a:srgbClr val="381360"/>
    </a:custClr>
    <a:custClr name="Periwinkle">
      <a:srgbClr val="7583FF"/>
    </a:custClr>
    <a:custClr name="Medium Periwinkle">
      <a:srgbClr val="99A7FF"/>
    </a:custClr>
    <a:custClr name="Light Periwinkle">
      <a:srgbClr val="C7D0FF"/>
    </a:custClr>
    <a:custClr name="Dark Yellow">
      <a:srgbClr val="A07A00"/>
    </a:custClr>
    <a:custClr name="Yellow">
      <a:srgbClr val="D9BA16"/>
    </a:custClr>
    <a:custClr name="Medium Yellow">
      <a:srgbClr val="FAE748"/>
    </a:custClr>
    <a:custClr name="Manilla">
      <a:srgbClr val="FFF8DE"/>
    </a:custClr>
    <a:custClr name="Custom Color">
      <a:srgbClr val="FFFFFF"/>
    </a:custClr>
    <a:custClr name="Custom Color 1">
      <a:srgbClr val="FFFFFF"/>
    </a:custClr>
    <a:custClr name="Dark Red">
      <a:srgbClr val="8C1B1B"/>
    </a:custClr>
    <a:custClr name="Red">
      <a:srgbClr val="F2342F"/>
    </a:custClr>
    <a:custClr name="Medium Red">
      <a:srgbClr val="FFB6B3"/>
    </a:custClr>
    <a:custClr name="Light Red">
      <a:srgbClr val="FFEAEA"/>
    </a:custClr>
    <a:custClr name="Dark Green">
      <a:srgbClr val="184D38"/>
    </a:custClr>
    <a:custClr name="Green">
      <a:srgbClr val="54C477"/>
    </a:custClr>
    <a:custClr name="Medium Green">
      <a:srgbClr val="97E6B0"/>
    </a:custClr>
    <a:custClr name="Light Green">
      <a:srgbClr val="E1F8E7"/>
    </a:custClr>
    <a:custClr name="Custom Color 2">
      <a:srgbClr val="FFFFFF"/>
    </a:custClr>
    <a:custClr name="Custom Color 3">
      <a:srgbClr val="FFFFFF"/>
    </a:custClr>
  </a:custClrLst>
  <a:extLst>
    <a:ext uri="{05A4C25C-085E-4340-85A3-A5531E510DB2}">
      <thm15:themeFamily xmlns:thm15="http://schemas.microsoft.com/office/thememl/2012/main" name="WebinarTemplate-CaseMgmt" id="{B19543F3-49E8-6740-BDF2-D9BB81C83B6B}" vid="{0A280DBA-0818-DF4F-9446-60E485D49A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fb4a2f6-ff7e-4468-8d33-3989b86f48a5">
      <Terms xmlns="http://schemas.microsoft.com/office/infopath/2007/PartnerControls"/>
    </lcf76f155ced4ddcb4097134ff3c332f>
    <TaxCatchAll xmlns="c49fa8cb-e1c5-4ff3-8b97-32a805d8dc8a" xsi:nil="true"/>
    <Product xmlns="8fb4a2f6-ff7e-4468-8d33-3989b86f48a5" xsi:nil="true"/>
    <DeliveryMethod xmlns="8fb4a2f6-ff7e-4468-8d33-3989b86f48a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DBEE78537243E4382652A35DE32BA1C" ma:contentTypeVersion="16" ma:contentTypeDescription="Create a new document." ma:contentTypeScope="" ma:versionID="31343859928c64949e863a29b81711c0">
  <xsd:schema xmlns:xsd="http://www.w3.org/2001/XMLSchema" xmlns:xs="http://www.w3.org/2001/XMLSchema" xmlns:p="http://schemas.microsoft.com/office/2006/metadata/properties" xmlns:ns2="8fb4a2f6-ff7e-4468-8d33-3989b86f48a5" xmlns:ns3="c49fa8cb-e1c5-4ff3-8b97-32a805d8dc8a" targetNamespace="http://schemas.microsoft.com/office/2006/metadata/properties" ma:root="true" ma:fieldsID="9d608e7fb720eea20edb9e76664dd05b" ns2:_="" ns3:_="">
    <xsd:import namespace="8fb4a2f6-ff7e-4468-8d33-3989b86f48a5"/>
    <xsd:import namespace="c49fa8cb-e1c5-4ff3-8b97-32a805d8dc8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2:Product" minOccurs="0"/>
                <xsd:element ref="ns2:DeliveryMetho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b4a2f6-ff7e-4468-8d33-3989b86f48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3eebfab-962d-48b3-ab83-d43c129f34b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Product" ma:index="22" nillable="true" ma:displayName="Product" ma:format="Dropdown" ma:internalName="Product">
      <xsd:simpleType>
        <xsd:restriction base="dms:Choice">
          <xsd:enumeration value="EA"/>
          <xsd:enumeration value="NFG"/>
          <xsd:enumeration value="Apricot"/>
          <xsd:enumeration value="CyberGrants"/>
          <xsd:enumeration value="Salsa"/>
          <xsd:enumeration value="WeSpire"/>
          <xsd:enumeration value="ETO"/>
          <xsd:enumeration value="DonorDrive"/>
          <xsd:enumeration value="GiveGab"/>
        </xsd:restriction>
      </xsd:simpleType>
    </xsd:element>
    <xsd:element name="DeliveryMethod" ma:index="23" nillable="true" ma:displayName="Delivery Method" ma:format="Dropdown" ma:internalName="DeliveryMethod">
      <xsd:simpleType>
        <xsd:restriction base="dms:Choice">
          <xsd:enumeration value="In-App"/>
          <xsd:enumeration value="Email"/>
        </xsd:restriction>
      </xsd:simpleType>
    </xsd:element>
  </xsd:schema>
  <xsd:schema xmlns:xsd="http://www.w3.org/2001/XMLSchema" xmlns:xs="http://www.w3.org/2001/XMLSchema" xmlns:dms="http://schemas.microsoft.com/office/2006/documentManagement/types" xmlns:pc="http://schemas.microsoft.com/office/infopath/2007/PartnerControls" targetNamespace="c49fa8cb-e1c5-4ff3-8b97-32a805d8dc8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2af4889-b91e-4ec0-b083-d0ac445d242e}" ma:internalName="TaxCatchAll" ma:showField="CatchAllData" ma:web="c49fa8cb-e1c5-4ff3-8b97-32a805d8dc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5C5F97-0343-4A40-9842-872F1FAD9089}">
  <ds:schemaRefs>
    <ds:schemaRef ds:uri="c49fa8cb-e1c5-4ff3-8b97-32a805d8dc8a"/>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http://purl.org/dc/dcmitype/"/>
    <ds:schemaRef ds:uri="http://schemas.microsoft.com/office/2006/metadata/properties"/>
    <ds:schemaRef ds:uri="http://www.w3.org/XML/1998/namespace"/>
    <ds:schemaRef ds:uri="8fb4a2f6-ff7e-4468-8d33-3989b86f48a5"/>
  </ds:schemaRefs>
</ds:datastoreItem>
</file>

<file path=customXml/itemProps2.xml><?xml version="1.0" encoding="utf-8"?>
<ds:datastoreItem xmlns:ds="http://schemas.openxmlformats.org/officeDocument/2006/customXml" ds:itemID="{7CCFF25C-5914-4552-88EF-7F4116733B34}">
  <ds:schemaRefs>
    <ds:schemaRef ds:uri="http://schemas.microsoft.com/sharepoint/v3/contenttype/forms"/>
  </ds:schemaRefs>
</ds:datastoreItem>
</file>

<file path=customXml/itemProps3.xml><?xml version="1.0" encoding="utf-8"?>
<ds:datastoreItem xmlns:ds="http://schemas.openxmlformats.org/officeDocument/2006/customXml" ds:itemID="{FFE618C4-5187-4C0D-87DF-BCD11F3EB07C}"/>
</file>

<file path=docProps/app.xml><?xml version="1.0" encoding="utf-8"?>
<Properties xmlns="http://schemas.openxmlformats.org/officeDocument/2006/extended-properties" xmlns:vt="http://schemas.openxmlformats.org/officeDocument/2006/docPropsVTypes">
  <Template>BonterraTheme</Template>
  <TotalTime>6453</TotalTime>
  <Words>5837</Words>
  <Application>Microsoft Office PowerPoint</Application>
  <PresentationFormat>Widescreen</PresentationFormat>
  <Paragraphs>591</Paragraphs>
  <Slides>35</Slides>
  <Notes>35</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5" baseType="lpstr">
      <vt:lpstr>Aptos</vt:lpstr>
      <vt:lpstr>Arial</vt:lpstr>
      <vt:lpstr>Calibri</vt:lpstr>
      <vt:lpstr>Cambria</vt:lpstr>
      <vt:lpstr>Graphik</vt:lpstr>
      <vt:lpstr>Impact</vt:lpstr>
      <vt:lpstr>Segoe UI</vt:lpstr>
      <vt:lpstr>BonterraTheme</vt:lpstr>
      <vt:lpstr>TrainingWebinars</vt:lpstr>
      <vt:lpstr>think-cell Slide</vt:lpstr>
      <vt:lpstr>Apricot Certification Exam: Prep Course</vt:lpstr>
      <vt:lpstr>Meet Your Trainer</vt:lpstr>
      <vt:lpstr>Agenda</vt:lpstr>
      <vt:lpstr>Exam Overview &amp; Expectations</vt:lpstr>
      <vt:lpstr>Exam Overview</vt:lpstr>
      <vt:lpstr>Exam Expectations</vt:lpstr>
      <vt:lpstr>Competency Categories</vt:lpstr>
      <vt:lpstr>Competency Categories</vt:lpstr>
      <vt:lpstr>Admin Role</vt:lpstr>
      <vt:lpstr>Form Design</vt:lpstr>
      <vt:lpstr>Form Design</vt:lpstr>
      <vt:lpstr>Form Design</vt:lpstr>
      <vt:lpstr>Form Design</vt:lpstr>
      <vt:lpstr>Form Design</vt:lpstr>
      <vt:lpstr>How to Track…</vt:lpstr>
      <vt:lpstr>Native Reporting</vt:lpstr>
      <vt:lpstr>Native Reporting</vt:lpstr>
      <vt:lpstr>Native Reporting</vt:lpstr>
      <vt:lpstr>User Management</vt:lpstr>
      <vt:lpstr>User Management</vt:lpstr>
      <vt:lpstr>Data Management</vt:lpstr>
      <vt:lpstr>Additional Features</vt:lpstr>
      <vt:lpstr>Recommended Training</vt:lpstr>
      <vt:lpstr>Comprehensive Training</vt:lpstr>
      <vt:lpstr>Refresher Training</vt:lpstr>
      <vt:lpstr>Refresher Training</vt:lpstr>
      <vt:lpstr>Knowledge Check</vt:lpstr>
      <vt:lpstr>Quiz Questions</vt:lpstr>
      <vt:lpstr>Quiz Answers</vt:lpstr>
      <vt:lpstr>Q&amp;A</vt:lpstr>
      <vt:lpstr>Q&amp;A</vt:lpstr>
      <vt:lpstr>Closing</vt:lpstr>
      <vt:lpstr>Training Resources</vt:lpstr>
      <vt:lpstr>Customer Support</vt:lpstr>
      <vt:lpstr>Thank you!  Good luck on your ex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Annie Novacek</cp:lastModifiedBy>
  <cp:revision>1</cp:revision>
  <dcterms:created xsi:type="dcterms:W3CDTF">2024-11-18T14:37:12Z</dcterms:created>
  <dcterms:modified xsi:type="dcterms:W3CDTF">2024-12-19T22:0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BEE78537243E4382652A35DE32BA1C</vt:lpwstr>
  </property>
  <property fmtid="{D5CDD505-2E9C-101B-9397-08002B2CF9AE}" pid="3" name="MediaServiceImageTags">
    <vt:lpwstr/>
  </property>
</Properties>
</file>